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7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8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9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0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1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12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3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58" r:id="rId1"/>
  </p:sldMasterIdLst>
  <p:notesMasterIdLst>
    <p:notesMasterId r:id="rId19"/>
  </p:notesMasterIdLst>
  <p:handoutMasterIdLst>
    <p:handoutMasterId r:id="rId20"/>
  </p:handoutMasterIdLst>
  <p:sldIdLst>
    <p:sldId id="944" r:id="rId2"/>
    <p:sldId id="992" r:id="rId3"/>
    <p:sldId id="993" r:id="rId4"/>
    <p:sldId id="1007" r:id="rId5"/>
    <p:sldId id="994" r:id="rId6"/>
    <p:sldId id="998" r:id="rId7"/>
    <p:sldId id="1041" r:id="rId8"/>
    <p:sldId id="1022" r:id="rId9"/>
    <p:sldId id="1023" r:id="rId10"/>
    <p:sldId id="1038" r:id="rId11"/>
    <p:sldId id="1004" r:id="rId12"/>
    <p:sldId id="1042" r:id="rId13"/>
    <p:sldId id="1039" r:id="rId14"/>
    <p:sldId id="1027" r:id="rId15"/>
    <p:sldId id="1043" r:id="rId16"/>
    <p:sldId id="1030" r:id="rId17"/>
    <p:sldId id="1044" r:id="rId18"/>
  </p:sldIdLst>
  <p:sldSz cx="12801600" cy="9601200" type="A3"/>
  <p:notesSz cx="6797675" cy="9926638"/>
  <p:custDataLst>
    <p:tags r:id="rId21"/>
  </p:custDataLst>
  <p:defaultTextStyle>
    <a:defPPr>
      <a:defRPr lang="ru-RU"/>
    </a:defPPr>
    <a:lvl1pPr marL="0" algn="l" defTabSz="1075140" rtl="0" eaLnBrk="1" latinLnBrk="0" hangingPunct="1">
      <a:defRPr sz="2117" kern="1200">
        <a:solidFill>
          <a:schemeClr val="tx1"/>
        </a:solidFill>
        <a:latin typeface="+mn-lt"/>
        <a:ea typeface="+mn-ea"/>
        <a:cs typeface="+mn-cs"/>
      </a:defRPr>
    </a:lvl1pPr>
    <a:lvl2pPr marL="537569" algn="l" defTabSz="1075140" rtl="0" eaLnBrk="1" latinLnBrk="0" hangingPunct="1">
      <a:defRPr sz="2117" kern="1200">
        <a:solidFill>
          <a:schemeClr val="tx1"/>
        </a:solidFill>
        <a:latin typeface="+mn-lt"/>
        <a:ea typeface="+mn-ea"/>
        <a:cs typeface="+mn-cs"/>
      </a:defRPr>
    </a:lvl2pPr>
    <a:lvl3pPr marL="1075140" algn="l" defTabSz="1075140" rtl="0" eaLnBrk="1" latinLnBrk="0" hangingPunct="1">
      <a:defRPr sz="2117" kern="1200">
        <a:solidFill>
          <a:schemeClr val="tx1"/>
        </a:solidFill>
        <a:latin typeface="+mn-lt"/>
        <a:ea typeface="+mn-ea"/>
        <a:cs typeface="+mn-cs"/>
      </a:defRPr>
    </a:lvl3pPr>
    <a:lvl4pPr marL="1612711" algn="l" defTabSz="1075140" rtl="0" eaLnBrk="1" latinLnBrk="0" hangingPunct="1">
      <a:defRPr sz="2117" kern="1200">
        <a:solidFill>
          <a:schemeClr val="tx1"/>
        </a:solidFill>
        <a:latin typeface="+mn-lt"/>
        <a:ea typeface="+mn-ea"/>
        <a:cs typeface="+mn-cs"/>
      </a:defRPr>
    </a:lvl4pPr>
    <a:lvl5pPr marL="2150282" algn="l" defTabSz="1075140" rtl="0" eaLnBrk="1" latinLnBrk="0" hangingPunct="1">
      <a:defRPr sz="2117" kern="1200">
        <a:solidFill>
          <a:schemeClr val="tx1"/>
        </a:solidFill>
        <a:latin typeface="+mn-lt"/>
        <a:ea typeface="+mn-ea"/>
        <a:cs typeface="+mn-cs"/>
      </a:defRPr>
    </a:lvl5pPr>
    <a:lvl6pPr marL="2687851" algn="l" defTabSz="1075140" rtl="0" eaLnBrk="1" latinLnBrk="0" hangingPunct="1">
      <a:defRPr sz="2117" kern="1200">
        <a:solidFill>
          <a:schemeClr val="tx1"/>
        </a:solidFill>
        <a:latin typeface="+mn-lt"/>
        <a:ea typeface="+mn-ea"/>
        <a:cs typeface="+mn-cs"/>
      </a:defRPr>
    </a:lvl6pPr>
    <a:lvl7pPr marL="3225421" algn="l" defTabSz="1075140" rtl="0" eaLnBrk="1" latinLnBrk="0" hangingPunct="1">
      <a:defRPr sz="2117" kern="1200">
        <a:solidFill>
          <a:schemeClr val="tx1"/>
        </a:solidFill>
        <a:latin typeface="+mn-lt"/>
        <a:ea typeface="+mn-ea"/>
        <a:cs typeface="+mn-cs"/>
      </a:defRPr>
    </a:lvl7pPr>
    <a:lvl8pPr marL="3762991" algn="l" defTabSz="1075140" rtl="0" eaLnBrk="1" latinLnBrk="0" hangingPunct="1">
      <a:defRPr sz="2117" kern="1200">
        <a:solidFill>
          <a:schemeClr val="tx1"/>
        </a:solidFill>
        <a:latin typeface="+mn-lt"/>
        <a:ea typeface="+mn-ea"/>
        <a:cs typeface="+mn-cs"/>
      </a:defRPr>
    </a:lvl8pPr>
    <a:lvl9pPr marL="4300562" algn="l" defTabSz="1075140" rtl="0" eaLnBrk="1" latinLnBrk="0" hangingPunct="1">
      <a:defRPr sz="2117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9" orient="horz" pos="643" userDrawn="1">
          <p15:clr>
            <a:srgbClr val="F26B43"/>
          </p15:clr>
        </p15:guide>
        <p15:guide id="26" orient="horz" pos="5818" userDrawn="1">
          <p15:clr>
            <a:srgbClr val="A4A3A4"/>
          </p15:clr>
        </p15:guide>
        <p15:guide id="27" pos="7628" userDrawn="1">
          <p15:clr>
            <a:srgbClr val="A4A3A4"/>
          </p15:clr>
        </p15:guide>
        <p15:guide id="28" pos="27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Новоселова Алла Владимировна" initials="НАВ" lastIdx="2" clrIdx="0">
    <p:extLst>
      <p:ext uri="{19B8F6BF-5375-455C-9EA6-DF929625EA0E}">
        <p15:presenceInfo xmlns:p15="http://schemas.microsoft.com/office/powerpoint/2012/main" userId="Новоселова Алла Владимировна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E85C4"/>
    <a:srgbClr val="EAEFF7"/>
    <a:srgbClr val="229C1C"/>
    <a:srgbClr val="D2DEEF"/>
    <a:srgbClr val="D8DFE1"/>
    <a:srgbClr val="C9199B"/>
    <a:srgbClr val="40C4F4"/>
    <a:srgbClr val="E7D3E3"/>
    <a:srgbClr val="FBDDF5"/>
    <a:srgbClr val="B77AA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2838BEF-8BB2-4498-84A7-C5851F593DF1}" styleName="Средний стиль 4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90217" autoAdjust="0"/>
  </p:normalViewPr>
  <p:slideViewPr>
    <p:cSldViewPr snapToGrid="0">
      <p:cViewPr varScale="1">
        <p:scale>
          <a:sx n="76" d="100"/>
          <a:sy n="76" d="100"/>
        </p:scale>
        <p:origin x="1788" y="114"/>
      </p:cViewPr>
      <p:guideLst>
        <p:guide orient="horz" pos="643"/>
        <p:guide orient="horz" pos="5818"/>
        <p:guide pos="7628"/>
        <p:guide pos="27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107" d="100"/>
          <a:sy n="107" d="100"/>
        </p:scale>
        <p:origin x="159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0" y="1"/>
            <a:ext cx="2945659" cy="498055"/>
          </a:xfrm>
          <a:prstGeom prst="rect">
            <a:avLst/>
          </a:prstGeom>
        </p:spPr>
        <p:txBody>
          <a:bodyPr vert="horz" lIns="91398" tIns="45699" rIns="91398" bIns="45699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53" y="1"/>
            <a:ext cx="2945659" cy="498055"/>
          </a:xfrm>
          <a:prstGeom prst="rect">
            <a:avLst/>
          </a:prstGeom>
        </p:spPr>
        <p:txBody>
          <a:bodyPr vert="horz" lIns="91398" tIns="45699" rIns="91398" bIns="45699" rtlCol="0"/>
          <a:lstStyle>
            <a:lvl1pPr algn="r">
              <a:defRPr sz="1200"/>
            </a:lvl1pPr>
          </a:lstStyle>
          <a:p>
            <a:fld id="{7B6CF343-C018-46EB-8678-D6A3C6D42DA3}" type="datetimeFigureOut">
              <a:rPr lang="ru-RU" smtClean="0"/>
              <a:pPr/>
              <a:t>28.11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0" y="9428584"/>
            <a:ext cx="2945659" cy="498055"/>
          </a:xfrm>
          <a:prstGeom prst="rect">
            <a:avLst/>
          </a:prstGeom>
        </p:spPr>
        <p:txBody>
          <a:bodyPr vert="horz" lIns="91398" tIns="45699" rIns="91398" bIns="45699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3"/>
          </p:nvPr>
        </p:nvSpPr>
        <p:spPr>
          <a:xfrm>
            <a:off x="3850530" y="9428220"/>
            <a:ext cx="2946058" cy="498418"/>
          </a:xfrm>
          <a:prstGeom prst="rect">
            <a:avLst/>
          </a:prstGeom>
        </p:spPr>
        <p:txBody>
          <a:bodyPr vert="horz" lIns="91398" tIns="45699" rIns="91398" bIns="45699" rtlCol="0" anchor="b"/>
          <a:lstStyle>
            <a:lvl1pPr algn="r">
              <a:defRPr sz="1200"/>
            </a:lvl1pPr>
          </a:lstStyle>
          <a:p>
            <a:fld id="{CF1641F5-CA08-4D33-A951-88430E972AE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9234474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8"/>
            <a:ext cx="2946400" cy="496889"/>
          </a:xfrm>
          <a:prstGeom prst="rect">
            <a:avLst/>
          </a:prstGeom>
        </p:spPr>
        <p:txBody>
          <a:bodyPr vert="horz" lIns="91398" tIns="45699" rIns="91398" bIns="45699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9" y="8"/>
            <a:ext cx="2946400" cy="496889"/>
          </a:xfrm>
          <a:prstGeom prst="rect">
            <a:avLst/>
          </a:prstGeom>
        </p:spPr>
        <p:txBody>
          <a:bodyPr vert="horz" lIns="91398" tIns="45699" rIns="91398" bIns="45699" rtlCol="0"/>
          <a:lstStyle>
            <a:lvl1pPr algn="r">
              <a:defRPr sz="1200"/>
            </a:lvl1pPr>
          </a:lstStyle>
          <a:p>
            <a:fld id="{409748D7-FB17-4E8D-A149-8340B589F350}" type="datetimeFigureOut">
              <a:rPr lang="ru-RU" smtClean="0"/>
              <a:pPr/>
              <a:t>28.11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68400" y="1243013"/>
            <a:ext cx="4460875" cy="3346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98" tIns="45699" rIns="91398" bIns="45699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3" y="4776802"/>
            <a:ext cx="5438775" cy="3908425"/>
          </a:xfrm>
          <a:prstGeom prst="rect">
            <a:avLst/>
          </a:prstGeom>
        </p:spPr>
        <p:txBody>
          <a:bodyPr vert="horz" lIns="91398" tIns="45699" rIns="91398" bIns="45699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9757"/>
            <a:ext cx="2946400" cy="496889"/>
          </a:xfrm>
          <a:prstGeom prst="rect">
            <a:avLst/>
          </a:prstGeom>
        </p:spPr>
        <p:txBody>
          <a:bodyPr vert="horz" lIns="91398" tIns="45699" rIns="91398" bIns="45699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9" y="9429757"/>
            <a:ext cx="2946400" cy="496889"/>
          </a:xfrm>
          <a:prstGeom prst="rect">
            <a:avLst/>
          </a:prstGeom>
        </p:spPr>
        <p:txBody>
          <a:bodyPr vert="horz" lIns="91398" tIns="45699" rIns="91398" bIns="45699" rtlCol="0" anchor="b"/>
          <a:lstStyle>
            <a:lvl1pPr algn="r">
              <a:defRPr sz="1200"/>
            </a:lvl1pPr>
          </a:lstStyle>
          <a:p>
            <a:fld id="{430C3ABF-8280-4EA7-A6FD-9884B79846F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478274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075140" rtl="0" eaLnBrk="1" latinLnBrk="0" hangingPunct="1">
      <a:defRPr sz="1411" kern="1200">
        <a:solidFill>
          <a:schemeClr val="tx1"/>
        </a:solidFill>
        <a:latin typeface="+mn-lt"/>
        <a:ea typeface="+mn-ea"/>
        <a:cs typeface="+mn-cs"/>
      </a:defRPr>
    </a:lvl1pPr>
    <a:lvl2pPr marL="537569" algn="l" defTabSz="1075140" rtl="0" eaLnBrk="1" latinLnBrk="0" hangingPunct="1">
      <a:defRPr sz="1411" kern="1200">
        <a:solidFill>
          <a:schemeClr val="tx1"/>
        </a:solidFill>
        <a:latin typeface="+mn-lt"/>
        <a:ea typeface="+mn-ea"/>
        <a:cs typeface="+mn-cs"/>
      </a:defRPr>
    </a:lvl2pPr>
    <a:lvl3pPr marL="1075140" algn="l" defTabSz="1075140" rtl="0" eaLnBrk="1" latinLnBrk="0" hangingPunct="1">
      <a:defRPr sz="1411" kern="1200">
        <a:solidFill>
          <a:schemeClr val="tx1"/>
        </a:solidFill>
        <a:latin typeface="+mn-lt"/>
        <a:ea typeface="+mn-ea"/>
        <a:cs typeface="+mn-cs"/>
      </a:defRPr>
    </a:lvl3pPr>
    <a:lvl4pPr marL="1612711" algn="l" defTabSz="1075140" rtl="0" eaLnBrk="1" latinLnBrk="0" hangingPunct="1">
      <a:defRPr sz="1411" kern="1200">
        <a:solidFill>
          <a:schemeClr val="tx1"/>
        </a:solidFill>
        <a:latin typeface="+mn-lt"/>
        <a:ea typeface="+mn-ea"/>
        <a:cs typeface="+mn-cs"/>
      </a:defRPr>
    </a:lvl4pPr>
    <a:lvl5pPr marL="2150282" algn="l" defTabSz="1075140" rtl="0" eaLnBrk="1" latinLnBrk="0" hangingPunct="1">
      <a:defRPr sz="1411" kern="1200">
        <a:solidFill>
          <a:schemeClr val="tx1"/>
        </a:solidFill>
        <a:latin typeface="+mn-lt"/>
        <a:ea typeface="+mn-ea"/>
        <a:cs typeface="+mn-cs"/>
      </a:defRPr>
    </a:lvl5pPr>
    <a:lvl6pPr marL="2687851" algn="l" defTabSz="1075140" rtl="0" eaLnBrk="1" latinLnBrk="0" hangingPunct="1">
      <a:defRPr sz="1411" kern="1200">
        <a:solidFill>
          <a:schemeClr val="tx1"/>
        </a:solidFill>
        <a:latin typeface="+mn-lt"/>
        <a:ea typeface="+mn-ea"/>
        <a:cs typeface="+mn-cs"/>
      </a:defRPr>
    </a:lvl6pPr>
    <a:lvl7pPr marL="3225421" algn="l" defTabSz="1075140" rtl="0" eaLnBrk="1" latinLnBrk="0" hangingPunct="1">
      <a:defRPr sz="1411" kern="1200">
        <a:solidFill>
          <a:schemeClr val="tx1"/>
        </a:solidFill>
        <a:latin typeface="+mn-lt"/>
        <a:ea typeface="+mn-ea"/>
        <a:cs typeface="+mn-cs"/>
      </a:defRPr>
    </a:lvl7pPr>
    <a:lvl8pPr marL="3762991" algn="l" defTabSz="1075140" rtl="0" eaLnBrk="1" latinLnBrk="0" hangingPunct="1">
      <a:defRPr sz="1411" kern="1200">
        <a:solidFill>
          <a:schemeClr val="tx1"/>
        </a:solidFill>
        <a:latin typeface="+mn-lt"/>
        <a:ea typeface="+mn-ea"/>
        <a:cs typeface="+mn-cs"/>
      </a:defRPr>
    </a:lvl8pPr>
    <a:lvl9pPr marL="4300562" algn="l" defTabSz="1075140" rtl="0" eaLnBrk="1" latinLnBrk="0" hangingPunct="1">
      <a:defRPr sz="1411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0C3ABF-8280-4EA7-A6FD-9884B79846F2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9847203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68400" y="1243013"/>
            <a:ext cx="4460875" cy="33464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0C3ABF-8280-4EA7-A6FD-9884B79846F2}" type="slidenum">
              <a:rPr lang="ru-RU" smtClean="0"/>
              <a:pPr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6452898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68400" y="1243013"/>
            <a:ext cx="4460875" cy="33464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0C3ABF-8280-4EA7-A6FD-9884B79846F2}" type="slidenum">
              <a:rPr lang="ru-RU" smtClean="0"/>
              <a:pPr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534832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68400" y="1243013"/>
            <a:ext cx="4460875" cy="33464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0C3ABF-8280-4EA7-A6FD-9884B79846F2}" type="slidenum">
              <a:rPr lang="ru-RU" smtClean="0"/>
              <a:pPr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8612909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68400" y="1243013"/>
            <a:ext cx="4460875" cy="33464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0C3ABF-8280-4EA7-A6FD-9884B79846F2}" type="slidenum">
              <a:rPr lang="ru-RU" smtClean="0"/>
              <a:pPr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3617638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68400" y="1243013"/>
            <a:ext cx="4460875" cy="33464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0C3ABF-8280-4EA7-A6FD-9884B79846F2}" type="slidenum">
              <a:rPr lang="ru-RU" smtClean="0"/>
              <a:pPr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387220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68400" y="1243013"/>
            <a:ext cx="4460875" cy="33464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0C3ABF-8280-4EA7-A6FD-9884B79846F2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009017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68400" y="1243013"/>
            <a:ext cx="4460875" cy="33464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0C3ABF-8280-4EA7-A6FD-9884B79846F2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145306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68400" y="1243013"/>
            <a:ext cx="4460875" cy="33464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0C3ABF-8280-4EA7-A6FD-9884B79846F2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983875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68400" y="1243013"/>
            <a:ext cx="4460875" cy="33464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0C3ABF-8280-4EA7-A6FD-9884B79846F2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457550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68400" y="1243013"/>
            <a:ext cx="4460875" cy="33464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0C3ABF-8280-4EA7-A6FD-9884B79846F2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5039684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68400" y="1243013"/>
            <a:ext cx="4460875" cy="33464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0C3ABF-8280-4EA7-A6FD-9884B79846F2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789157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68400" y="1243013"/>
            <a:ext cx="4460875" cy="33464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0C3ABF-8280-4EA7-A6FD-9884B79846F2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6875191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68400" y="1243013"/>
            <a:ext cx="4460875" cy="33464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0C3ABF-8280-4EA7-A6FD-9884B79846F2}" type="slidenum">
              <a:rPr lang="ru-RU" smtClean="0"/>
              <a:pPr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646672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jpe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60120" y="1571308"/>
            <a:ext cx="10881360" cy="3342640"/>
          </a:xfrm>
        </p:spPr>
        <p:txBody>
          <a:bodyPr anchor="b"/>
          <a:lstStyle>
            <a:lvl1pPr algn="ctr">
              <a:defRPr sz="84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00200" y="5042853"/>
            <a:ext cx="9601200" cy="2318067"/>
          </a:xfrm>
        </p:spPr>
        <p:txBody>
          <a:bodyPr/>
          <a:lstStyle>
            <a:lvl1pPr marL="0" indent="0" algn="ctr">
              <a:buNone/>
              <a:defRPr sz="3360"/>
            </a:lvl1pPr>
            <a:lvl2pPr marL="640080" indent="0" algn="ctr">
              <a:buNone/>
              <a:defRPr sz="2800"/>
            </a:lvl2pPr>
            <a:lvl3pPr marL="1280160" indent="0" algn="ctr">
              <a:buNone/>
              <a:defRPr sz="2520"/>
            </a:lvl3pPr>
            <a:lvl4pPr marL="1920240" indent="0" algn="ctr">
              <a:buNone/>
              <a:defRPr sz="2240"/>
            </a:lvl4pPr>
            <a:lvl5pPr marL="2560320" indent="0" algn="ctr">
              <a:buNone/>
              <a:defRPr sz="2240"/>
            </a:lvl5pPr>
            <a:lvl6pPr marL="3200400" indent="0" algn="ctr">
              <a:buNone/>
              <a:defRPr sz="2240"/>
            </a:lvl6pPr>
            <a:lvl7pPr marL="3840480" indent="0" algn="ctr">
              <a:buNone/>
              <a:defRPr sz="2240"/>
            </a:lvl7pPr>
            <a:lvl8pPr marL="4480560" indent="0" algn="ctr">
              <a:buNone/>
              <a:defRPr sz="2240"/>
            </a:lvl8pPr>
            <a:lvl9pPr marL="5120640" indent="0" algn="ctr">
              <a:buNone/>
              <a:defRPr sz="224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E2C694-EC05-431F-A421-95C2F793540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8.1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АО "Электропривод"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66D977-39BF-449E-9971-4E2C82A499D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48646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C8CAD-9649-41EA-AB30-4A75755C591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8.1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АО "Электропривод"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66D977-39BF-449E-9971-4E2C82A499D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64555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161146" y="511175"/>
            <a:ext cx="2760345" cy="8136573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80111" y="511175"/>
            <a:ext cx="8121015" cy="8136573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E8D686-A894-4E69-8621-6055519ACC8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8.1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АО "Электропривод"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66D977-39BF-449E-9971-4E2C82A499D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40807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098269"/>
              </p:ext>
            </p:extLst>
          </p:nvPr>
        </p:nvGraphicFramePr>
        <p:xfrm>
          <a:off x="2055" y="2229"/>
          <a:ext cx="2051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149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55" y="2229"/>
                        <a:ext cx="2051" cy="222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19080"/>
            <a:ext cx="12801600" cy="109728"/>
          </a:xfrm>
          <a:prstGeom prst="rect">
            <a:avLst/>
          </a:prstGeom>
        </p:spPr>
      </p:pic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>
          <a:xfrm>
            <a:off x="655200" y="2304015"/>
            <a:ext cx="11491200" cy="6300000"/>
          </a:xfrm>
        </p:spPr>
        <p:txBody>
          <a:bodyPr>
            <a:normAutofit/>
          </a:bodyPr>
          <a:lstStyle>
            <a:lvl1pPr>
              <a:buClr>
                <a:srgbClr val="A22E94"/>
              </a:buClr>
              <a:defRPr sz="2864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A22E94"/>
              </a:buClr>
              <a:defRPr sz="2386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A22E94"/>
              </a:buClr>
              <a:defRPr sz="2147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A22E94"/>
              </a:buClr>
              <a:defRPr sz="1907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A22E94"/>
              </a:buClr>
              <a:defRPr sz="1907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363123" y="302266"/>
            <a:ext cx="12036376" cy="1355725"/>
          </a:xfrm>
        </p:spPr>
        <p:txBody>
          <a:bodyPr anchor="b">
            <a:noAutofit/>
          </a:bodyPr>
          <a:lstStyle>
            <a:lvl1pPr marL="0" indent="0">
              <a:buNone/>
              <a:defRPr lang="ru-RU" sz="2864" b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ru-RU" sz="5249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>
              <a:defRPr lang="ru-RU" sz="5249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>
              <a:defRPr lang="ru-RU" sz="5249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>
              <a:defRPr lang="ru-RU" sz="5249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ru-RU" dirty="0" smtClean="0"/>
              <a:t>Заголовок</a:t>
            </a:r>
            <a:endParaRPr lang="ru-RU" dirty="0"/>
          </a:p>
        </p:txBody>
      </p:sp>
      <p:sp>
        <p:nvSpPr>
          <p:cNvPr id="2" name="Дата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F339ED8-159E-4E1F-BA65-40F83343A4C2}" type="datetime1">
              <a:rPr lang="ru-RU" smtClean="0"/>
              <a:t>28.11.2022</a:t>
            </a:fld>
            <a:endParaRPr lang="en-US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ru-RU" smtClean="0"/>
              <a:t>АО "Электропривод"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025598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70">
          <p15:clr>
            <a:srgbClr val="FBAE40"/>
          </p15:clr>
        </p15:guide>
        <p15:guide id="2" orient="horz" pos="2008">
          <p15:clr>
            <a:srgbClr val="F26B43"/>
          </p15:clr>
        </p15:guide>
        <p15:guide id="3" orient="horz" pos="2072">
          <p15:clr>
            <a:srgbClr val="FBAE40"/>
          </p15:clr>
        </p15:guide>
        <p15:guide id="4" pos="7694">
          <p15:clr>
            <a:srgbClr val="FBAE40"/>
          </p15:clr>
        </p15:guide>
        <p15:guide id="5" pos="3739">
          <p15:clr>
            <a:srgbClr val="FBAE40"/>
          </p15:clr>
        </p15:guide>
        <p15:guide id="6" pos="4325">
          <p15:clr>
            <a:srgbClr val="FBAE40"/>
          </p15:clr>
        </p15:guide>
        <p15:guide id="7" pos="4032">
          <p15:clr>
            <a:srgbClr val="A4A3A4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ьный слайд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Объект 1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226" y="2228"/>
          <a:ext cx="2221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90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26" y="2228"/>
                        <a:ext cx="2221" cy="222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5468"/>
            <a:ext cx="12801600" cy="6247181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674" y="5822975"/>
            <a:ext cx="11268075" cy="2084831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597410" y="8728474"/>
            <a:ext cx="3413761" cy="3707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9" dirty="0">
                <a:latin typeface="Arial" panose="020B0604020202020204" pitchFamily="34" charset="0"/>
                <a:cs typeface="Arial" panose="020B0604020202020204" pitchFamily="34" charset="0"/>
              </a:rPr>
              <a:t>Задавая новые стандарты</a:t>
            </a:r>
          </a:p>
        </p:txBody>
      </p:sp>
      <p:sp>
        <p:nvSpPr>
          <p:cNvPr id="16" name="Текст 15"/>
          <p:cNvSpPr>
            <a:spLocks noGrp="1"/>
          </p:cNvSpPr>
          <p:nvPr>
            <p:ph type="body" sz="quarter" idx="11" hasCustomPrompt="1"/>
          </p:nvPr>
        </p:nvSpPr>
        <p:spPr>
          <a:xfrm>
            <a:off x="722313" y="6121870"/>
            <a:ext cx="10452419" cy="1411200"/>
          </a:xfrm>
          <a:prstGeom prst="rect">
            <a:avLst/>
          </a:prstGeom>
        </p:spPr>
        <p:txBody>
          <a:bodyPr/>
          <a:lstStyle>
            <a:lvl1pPr marL="295417" indent="-295417">
              <a:buNone/>
              <a:defRPr lang="ru-RU" sz="3102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5pPr marL="2363344" indent="0" algn="l">
              <a:buNone/>
              <a:defRPr/>
            </a:lvl5pPr>
          </a:lstStyle>
          <a:p>
            <a:pPr marL="0" lvl="0" indent="0" algn="l" defTabSz="1181673" rtl="0" eaLnBrk="1" latinLnBrk="0" hangingPunct="1">
              <a:lnSpc>
                <a:spcPct val="90000"/>
              </a:lnSpc>
              <a:spcBef>
                <a:spcPts val="1292"/>
              </a:spcBef>
            </a:pPr>
            <a:r>
              <a:rPr lang="en-US" dirty="0" smtClean="0"/>
              <a:t>&lt;</a:t>
            </a:r>
            <a:r>
              <a:rPr lang="ru-RU" dirty="0" smtClean="0"/>
              <a:t>Название презентации</a:t>
            </a:r>
            <a:r>
              <a:rPr lang="en-US" dirty="0" smtClean="0"/>
              <a:t>&gt;</a:t>
            </a:r>
            <a:endParaRPr lang="ru-RU" dirty="0"/>
          </a:p>
        </p:txBody>
      </p:sp>
      <p:sp>
        <p:nvSpPr>
          <p:cNvPr id="19" name="Текст 18"/>
          <p:cNvSpPr>
            <a:spLocks noGrp="1"/>
          </p:cNvSpPr>
          <p:nvPr>
            <p:ph type="body" sz="quarter" idx="12" hasCustomPrompt="1"/>
          </p:nvPr>
        </p:nvSpPr>
        <p:spPr>
          <a:xfrm>
            <a:off x="722312" y="8353738"/>
            <a:ext cx="6998655" cy="37473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9">
                <a:solidFill>
                  <a:srgbClr val="C7C8C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rgbClr val="C7C8CA"/>
                </a:solidFill>
              </a:defRPr>
            </a:lvl2pPr>
            <a:lvl3pPr>
              <a:defRPr>
                <a:solidFill>
                  <a:srgbClr val="C7C8CA"/>
                </a:solidFill>
              </a:defRPr>
            </a:lvl3pPr>
            <a:lvl4pPr>
              <a:defRPr>
                <a:solidFill>
                  <a:srgbClr val="C7C8CA"/>
                </a:solidFill>
              </a:defRPr>
            </a:lvl4pPr>
            <a:lvl5pPr>
              <a:defRPr>
                <a:solidFill>
                  <a:srgbClr val="C7C8CA"/>
                </a:solidFill>
              </a:defRPr>
            </a:lvl5pPr>
          </a:lstStyle>
          <a:p>
            <a:pPr lvl="0"/>
            <a:r>
              <a:rPr lang="en-US" dirty="0" smtClean="0"/>
              <a:t>&lt;</a:t>
            </a:r>
            <a:r>
              <a:rPr lang="ru-RU" dirty="0" smtClean="0"/>
              <a:t>Место, дата</a:t>
            </a:r>
            <a:r>
              <a:rPr lang="en-US" dirty="0" smtClean="0"/>
              <a:t>&gt;</a:t>
            </a:r>
            <a:endParaRPr lang="ru-RU" dirty="0"/>
          </a:p>
        </p:txBody>
      </p:sp>
      <p:sp>
        <p:nvSpPr>
          <p:cNvPr id="9" name="Текст 18"/>
          <p:cNvSpPr>
            <a:spLocks noGrp="1"/>
          </p:cNvSpPr>
          <p:nvPr>
            <p:ph type="body" sz="quarter" idx="13" hasCustomPrompt="1"/>
          </p:nvPr>
        </p:nvSpPr>
        <p:spPr>
          <a:xfrm>
            <a:off x="722312" y="7930334"/>
            <a:ext cx="6998655" cy="37473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9">
                <a:solidFill>
                  <a:srgbClr val="C7C8C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rgbClr val="C7C8CA"/>
                </a:solidFill>
              </a:defRPr>
            </a:lvl2pPr>
            <a:lvl3pPr>
              <a:defRPr>
                <a:solidFill>
                  <a:srgbClr val="C7C8CA"/>
                </a:solidFill>
              </a:defRPr>
            </a:lvl3pPr>
            <a:lvl4pPr>
              <a:defRPr>
                <a:solidFill>
                  <a:srgbClr val="C7C8CA"/>
                </a:solidFill>
              </a:defRPr>
            </a:lvl4pPr>
            <a:lvl5pPr>
              <a:defRPr>
                <a:solidFill>
                  <a:srgbClr val="C7C8CA"/>
                </a:solidFill>
              </a:defRPr>
            </a:lvl5pPr>
          </a:lstStyle>
          <a:p>
            <a:pPr lvl="0"/>
            <a:r>
              <a:rPr lang="en-US" dirty="0" smtClean="0"/>
              <a:t>&lt;</a:t>
            </a:r>
            <a:r>
              <a:rPr lang="ru-RU" dirty="0" smtClean="0"/>
              <a:t>Дополнительные сведения</a:t>
            </a:r>
            <a:r>
              <a:rPr lang="en-US" dirty="0" smtClean="0"/>
              <a:t>&gt;</a:t>
            </a:r>
            <a:endParaRPr lang="ru-RU" dirty="0"/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30029" y="8305065"/>
            <a:ext cx="3765543" cy="1100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03621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DF8A84-A382-4C68-B8E1-ACECD7FC4C6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8.1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АО "Электропривод"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66D977-39BF-449E-9971-4E2C82A499D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78844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3443" y="2393635"/>
            <a:ext cx="11041380" cy="3993832"/>
          </a:xfrm>
        </p:spPr>
        <p:txBody>
          <a:bodyPr anchor="b"/>
          <a:lstStyle>
            <a:lvl1pPr>
              <a:defRPr sz="84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73443" y="6425250"/>
            <a:ext cx="11041380" cy="2100262"/>
          </a:xfrm>
        </p:spPr>
        <p:txBody>
          <a:bodyPr/>
          <a:lstStyle>
            <a:lvl1pPr marL="0" indent="0">
              <a:buNone/>
              <a:defRPr sz="3360">
                <a:solidFill>
                  <a:schemeClr val="tx1"/>
                </a:solidFill>
              </a:defRPr>
            </a:lvl1pPr>
            <a:lvl2pPr marL="64008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2pPr>
            <a:lvl3pPr marL="1280160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3pPr>
            <a:lvl4pPr marL="1920240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4pPr>
            <a:lvl5pPr marL="2560320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5pPr>
            <a:lvl6pPr marL="3200400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6pPr>
            <a:lvl7pPr marL="3840480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7pPr>
            <a:lvl8pPr marL="4480560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8pPr>
            <a:lvl9pPr marL="5120640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3BBE80-106A-4EF6-81D7-1F9A0568C9A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8.1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АО "Электропривод"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66D977-39BF-449E-9971-4E2C82A499D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84296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80110" y="2555875"/>
            <a:ext cx="5440680" cy="609187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80810" y="2555875"/>
            <a:ext cx="5440680" cy="609187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AD50BA-9BA2-4F88-AE51-1D80B770449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8.1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АО "Электропривод"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66D977-39BF-449E-9971-4E2C82A499D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36959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1777" y="511177"/>
            <a:ext cx="11041380" cy="185578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1779" y="2353628"/>
            <a:ext cx="5415676" cy="1153477"/>
          </a:xfrm>
        </p:spPr>
        <p:txBody>
          <a:bodyPr anchor="b"/>
          <a:lstStyle>
            <a:lvl1pPr marL="0" indent="0">
              <a:buNone/>
              <a:defRPr sz="3360" b="1"/>
            </a:lvl1pPr>
            <a:lvl2pPr marL="640080" indent="0">
              <a:buNone/>
              <a:defRPr sz="2800" b="1"/>
            </a:lvl2pPr>
            <a:lvl3pPr marL="1280160" indent="0">
              <a:buNone/>
              <a:defRPr sz="2520" b="1"/>
            </a:lvl3pPr>
            <a:lvl4pPr marL="1920240" indent="0">
              <a:buNone/>
              <a:defRPr sz="2240" b="1"/>
            </a:lvl4pPr>
            <a:lvl5pPr marL="2560320" indent="0">
              <a:buNone/>
              <a:defRPr sz="2240" b="1"/>
            </a:lvl5pPr>
            <a:lvl6pPr marL="3200400" indent="0">
              <a:buNone/>
              <a:defRPr sz="2240" b="1"/>
            </a:lvl6pPr>
            <a:lvl7pPr marL="3840480" indent="0">
              <a:buNone/>
              <a:defRPr sz="2240" b="1"/>
            </a:lvl7pPr>
            <a:lvl8pPr marL="4480560" indent="0">
              <a:buNone/>
              <a:defRPr sz="2240" b="1"/>
            </a:lvl8pPr>
            <a:lvl9pPr marL="5120640" indent="0">
              <a:buNone/>
              <a:defRPr sz="224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81779" y="3507105"/>
            <a:ext cx="5415676" cy="515842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80811" y="2353628"/>
            <a:ext cx="5442347" cy="1153477"/>
          </a:xfrm>
        </p:spPr>
        <p:txBody>
          <a:bodyPr anchor="b"/>
          <a:lstStyle>
            <a:lvl1pPr marL="0" indent="0">
              <a:buNone/>
              <a:defRPr sz="3360" b="1"/>
            </a:lvl1pPr>
            <a:lvl2pPr marL="640080" indent="0">
              <a:buNone/>
              <a:defRPr sz="2800" b="1"/>
            </a:lvl2pPr>
            <a:lvl3pPr marL="1280160" indent="0">
              <a:buNone/>
              <a:defRPr sz="2520" b="1"/>
            </a:lvl3pPr>
            <a:lvl4pPr marL="1920240" indent="0">
              <a:buNone/>
              <a:defRPr sz="2240" b="1"/>
            </a:lvl4pPr>
            <a:lvl5pPr marL="2560320" indent="0">
              <a:buNone/>
              <a:defRPr sz="2240" b="1"/>
            </a:lvl5pPr>
            <a:lvl6pPr marL="3200400" indent="0">
              <a:buNone/>
              <a:defRPr sz="2240" b="1"/>
            </a:lvl6pPr>
            <a:lvl7pPr marL="3840480" indent="0">
              <a:buNone/>
              <a:defRPr sz="2240" b="1"/>
            </a:lvl7pPr>
            <a:lvl8pPr marL="4480560" indent="0">
              <a:buNone/>
              <a:defRPr sz="2240" b="1"/>
            </a:lvl8pPr>
            <a:lvl9pPr marL="5120640" indent="0">
              <a:buNone/>
              <a:defRPr sz="224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80811" y="3507105"/>
            <a:ext cx="5442347" cy="515842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92C929-2BED-4142-A6F4-946114231BF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8.1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АО "Электропривод"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66D977-39BF-449E-9971-4E2C82A499D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9220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485517-76D9-4F18-BFE1-39C3B700825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8.1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АО "Электропривод"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66D977-39BF-449E-9971-4E2C82A499D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38391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D88C52-278A-442A-A86F-71887BFE097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8.1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АО "Электропривод"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66D977-39BF-449E-9971-4E2C82A499D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0065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1778" y="640080"/>
            <a:ext cx="4128849" cy="2240280"/>
          </a:xfrm>
        </p:spPr>
        <p:txBody>
          <a:bodyPr anchor="b"/>
          <a:lstStyle>
            <a:lvl1pPr>
              <a:defRPr sz="448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42347" y="1382397"/>
            <a:ext cx="6480810" cy="6823075"/>
          </a:xfrm>
        </p:spPr>
        <p:txBody>
          <a:bodyPr/>
          <a:lstStyle>
            <a:lvl1pPr>
              <a:defRPr sz="4480"/>
            </a:lvl1pPr>
            <a:lvl2pPr>
              <a:defRPr sz="3920"/>
            </a:lvl2pPr>
            <a:lvl3pPr>
              <a:defRPr sz="336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81778" y="2880360"/>
            <a:ext cx="4128849" cy="5336223"/>
          </a:xfrm>
        </p:spPr>
        <p:txBody>
          <a:bodyPr/>
          <a:lstStyle>
            <a:lvl1pPr marL="0" indent="0">
              <a:buNone/>
              <a:defRPr sz="2240"/>
            </a:lvl1pPr>
            <a:lvl2pPr marL="640080" indent="0">
              <a:buNone/>
              <a:defRPr sz="1960"/>
            </a:lvl2pPr>
            <a:lvl3pPr marL="1280160" indent="0">
              <a:buNone/>
              <a:defRPr sz="1680"/>
            </a:lvl3pPr>
            <a:lvl4pPr marL="1920240" indent="0">
              <a:buNone/>
              <a:defRPr sz="1400"/>
            </a:lvl4pPr>
            <a:lvl5pPr marL="2560320" indent="0">
              <a:buNone/>
              <a:defRPr sz="1400"/>
            </a:lvl5pPr>
            <a:lvl6pPr marL="3200400" indent="0">
              <a:buNone/>
              <a:defRPr sz="1400"/>
            </a:lvl6pPr>
            <a:lvl7pPr marL="3840480" indent="0">
              <a:buNone/>
              <a:defRPr sz="1400"/>
            </a:lvl7pPr>
            <a:lvl8pPr marL="4480560" indent="0">
              <a:buNone/>
              <a:defRPr sz="1400"/>
            </a:lvl8pPr>
            <a:lvl9pPr marL="512064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E334AB-B892-4A5B-AD79-A877E3FABD7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8.1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АО "Электропривод"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66D977-39BF-449E-9971-4E2C82A499D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1220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1778" y="640080"/>
            <a:ext cx="4128849" cy="2240280"/>
          </a:xfrm>
        </p:spPr>
        <p:txBody>
          <a:bodyPr anchor="b"/>
          <a:lstStyle>
            <a:lvl1pPr>
              <a:defRPr sz="448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442347" y="1382397"/>
            <a:ext cx="6480810" cy="6823075"/>
          </a:xfrm>
        </p:spPr>
        <p:txBody>
          <a:bodyPr anchor="t"/>
          <a:lstStyle>
            <a:lvl1pPr marL="0" indent="0">
              <a:buNone/>
              <a:defRPr sz="4480"/>
            </a:lvl1pPr>
            <a:lvl2pPr marL="640080" indent="0">
              <a:buNone/>
              <a:defRPr sz="3920"/>
            </a:lvl2pPr>
            <a:lvl3pPr marL="1280160" indent="0">
              <a:buNone/>
              <a:defRPr sz="3360"/>
            </a:lvl3pPr>
            <a:lvl4pPr marL="1920240" indent="0">
              <a:buNone/>
              <a:defRPr sz="2800"/>
            </a:lvl4pPr>
            <a:lvl5pPr marL="2560320" indent="0">
              <a:buNone/>
              <a:defRPr sz="2800"/>
            </a:lvl5pPr>
            <a:lvl6pPr marL="3200400" indent="0">
              <a:buNone/>
              <a:defRPr sz="2800"/>
            </a:lvl6pPr>
            <a:lvl7pPr marL="3840480" indent="0">
              <a:buNone/>
              <a:defRPr sz="2800"/>
            </a:lvl7pPr>
            <a:lvl8pPr marL="4480560" indent="0">
              <a:buNone/>
              <a:defRPr sz="2800"/>
            </a:lvl8pPr>
            <a:lvl9pPr marL="5120640" indent="0">
              <a:buNone/>
              <a:defRPr sz="28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81778" y="2880360"/>
            <a:ext cx="4128849" cy="5336223"/>
          </a:xfrm>
        </p:spPr>
        <p:txBody>
          <a:bodyPr/>
          <a:lstStyle>
            <a:lvl1pPr marL="0" indent="0">
              <a:buNone/>
              <a:defRPr sz="2240"/>
            </a:lvl1pPr>
            <a:lvl2pPr marL="640080" indent="0">
              <a:buNone/>
              <a:defRPr sz="1960"/>
            </a:lvl2pPr>
            <a:lvl3pPr marL="1280160" indent="0">
              <a:buNone/>
              <a:defRPr sz="1680"/>
            </a:lvl3pPr>
            <a:lvl4pPr marL="1920240" indent="0">
              <a:buNone/>
              <a:defRPr sz="1400"/>
            </a:lvl4pPr>
            <a:lvl5pPr marL="2560320" indent="0">
              <a:buNone/>
              <a:defRPr sz="1400"/>
            </a:lvl5pPr>
            <a:lvl6pPr marL="3200400" indent="0">
              <a:buNone/>
              <a:defRPr sz="1400"/>
            </a:lvl6pPr>
            <a:lvl7pPr marL="3840480" indent="0">
              <a:buNone/>
              <a:defRPr sz="1400"/>
            </a:lvl7pPr>
            <a:lvl8pPr marL="4480560" indent="0">
              <a:buNone/>
              <a:defRPr sz="1400"/>
            </a:lvl8pPr>
            <a:lvl9pPr marL="512064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0EDEF2-8FC3-49D1-9844-F6E4A572DBE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8.1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АО "Электропривод"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66D977-39BF-449E-9971-4E2C82A499D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13627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80110" y="511177"/>
            <a:ext cx="11041380" cy="18557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0110" y="2555875"/>
            <a:ext cx="11041380" cy="60918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80110" y="8898892"/>
            <a:ext cx="288036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6569A2F-0F02-426E-A970-8469AE23475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8.11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240530" y="8898892"/>
            <a:ext cx="432054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АО "Электропривод"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41130" y="8898892"/>
            <a:ext cx="288036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66D977-39BF-449E-9971-4E2C82A499D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291109060"/>
              </p:ext>
            </p:extLst>
          </p:nvPr>
        </p:nvGraphicFramePr>
        <p:xfrm>
          <a:off x="2055" y="2229"/>
          <a:ext cx="2051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0472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055" y="2229"/>
                        <a:ext cx="2051" cy="22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 userDrawn="1">
            <p:custDataLst>
              <p:tags r:id="rId17"/>
            </p:custDataLst>
          </p:nvPr>
        </p:nvSpPr>
        <p:spPr>
          <a:xfrm>
            <a:off x="1" y="0"/>
            <a:ext cx="166688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4265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04160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  <p:sldLayoutId id="2147483769" r:id="rId11"/>
    <p:sldLayoutId id="2147483770" r:id="rId12"/>
    <p:sldLayoutId id="2147483771" r:id="rId13"/>
  </p:sldLayoutIdLst>
  <p:hf hdr="0"/>
  <p:txStyles>
    <p:titleStyle>
      <a:lvl1pPr algn="l" defTabSz="1280160" rtl="0" eaLnBrk="1" latinLnBrk="0" hangingPunct="1">
        <a:lnSpc>
          <a:spcPct val="90000"/>
        </a:lnSpc>
        <a:spcBef>
          <a:spcPct val="0"/>
        </a:spcBef>
        <a:buNone/>
        <a:defRPr sz="61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20040" indent="-320040" algn="l" defTabSz="1280160" rtl="0" eaLnBrk="1" latinLnBrk="0" hangingPunct="1">
        <a:lnSpc>
          <a:spcPct val="90000"/>
        </a:lnSpc>
        <a:spcBef>
          <a:spcPts val="1400"/>
        </a:spcBef>
        <a:buFont typeface="Arial" panose="020B0604020202020204" pitchFamily="34" charset="0"/>
        <a:buChar char="•"/>
        <a:defRPr sz="3920" kern="1200">
          <a:solidFill>
            <a:schemeClr val="tx1"/>
          </a:solidFill>
          <a:latin typeface="+mn-lt"/>
          <a:ea typeface="+mn-ea"/>
          <a:cs typeface="+mn-cs"/>
        </a:defRPr>
      </a:lvl1pPr>
      <a:lvl2pPr marL="96012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3360" kern="1200">
          <a:solidFill>
            <a:schemeClr val="tx1"/>
          </a:solidFill>
          <a:latin typeface="+mn-lt"/>
          <a:ea typeface="+mn-ea"/>
          <a:cs typeface="+mn-cs"/>
        </a:defRPr>
      </a:lvl2pPr>
      <a:lvl3pPr marL="160020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224028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88036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52044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416052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44068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6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4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2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0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48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56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64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5" Type="http://schemas.microsoft.com/office/2007/relationships/hdphoto" Target="../media/hdphoto1.wdp"/><Relationship Id="rId4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tags" Target="../tags/tag23.xml"/><Relationship Id="rId7" Type="http://schemas.openxmlformats.org/officeDocument/2006/relationships/image" Target="../media/image1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tags" Target="../tags/tag25.xml"/><Relationship Id="rId7" Type="http://schemas.openxmlformats.org/officeDocument/2006/relationships/image" Target="../media/image1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tags" Target="../tags/tag27.xml"/><Relationship Id="rId7" Type="http://schemas.openxmlformats.org/officeDocument/2006/relationships/image" Target="../media/image1.emf"/><Relationship Id="rId2" Type="http://schemas.openxmlformats.org/officeDocument/2006/relationships/tags" Target="../tags/tag26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tags" Target="../tags/tag29.xml"/><Relationship Id="rId7" Type="http://schemas.openxmlformats.org/officeDocument/2006/relationships/image" Target="../media/image1.emf"/><Relationship Id="rId2" Type="http://schemas.openxmlformats.org/officeDocument/2006/relationships/tags" Target="../tags/tag28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tags" Target="../tags/tag31.xml"/><Relationship Id="rId7" Type="http://schemas.openxmlformats.org/officeDocument/2006/relationships/image" Target="../media/image1.emf"/><Relationship Id="rId2" Type="http://schemas.openxmlformats.org/officeDocument/2006/relationships/tags" Target="../tags/tag30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tags" Target="../tags/tag11.xm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tags" Target="../tags/tag15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tags" Target="../tags/tag21.xml"/><Relationship Id="rId7" Type="http://schemas.openxmlformats.org/officeDocument/2006/relationships/image" Target="../media/image1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801600" cy="7200900"/>
          </a:xfrm>
          <a:prstGeom prst="rect">
            <a:avLst/>
          </a:prstGeom>
        </p:spPr>
      </p:pic>
      <p:sp>
        <p:nvSpPr>
          <p:cNvPr id="9" name="Rectangle 5"/>
          <p:cNvSpPr/>
          <p:nvPr/>
        </p:nvSpPr>
        <p:spPr>
          <a:xfrm>
            <a:off x="0" y="7200900"/>
            <a:ext cx="12801600" cy="2400300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0" name="TextBox 9"/>
          <p:cNvSpPr txBox="1"/>
          <p:nvPr/>
        </p:nvSpPr>
        <p:spPr>
          <a:xfrm>
            <a:off x="179237" y="9119008"/>
            <a:ext cx="109299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50" baseline="30000" dirty="0" smtClean="0">
                <a:solidFill>
                  <a:schemeClr val="bg1"/>
                </a:solidFill>
                <a:latin typeface="PF Centro Sans Pro" panose="02000500000000020004" pitchFamily="2" charset="0"/>
              </a:rPr>
              <a:t>epv.ru</a:t>
            </a:r>
            <a:endParaRPr lang="en-US" sz="1350" baseline="30000" dirty="0">
              <a:solidFill>
                <a:schemeClr val="bg1"/>
              </a:solidFill>
              <a:latin typeface="PF Centro Sans Pro" panose="02000500000000020004" pitchFamily="2" charset="0"/>
            </a:endParaRPr>
          </a:p>
        </p:txBody>
      </p:sp>
      <p:pic>
        <p:nvPicPr>
          <p:cNvPr id="11" name="Picture 13"/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4781" y="8744178"/>
            <a:ext cx="2445329" cy="506806"/>
          </a:xfrm>
          <a:prstGeom prst="rect">
            <a:avLst/>
          </a:prstGeom>
        </p:spPr>
      </p:pic>
      <p:sp>
        <p:nvSpPr>
          <p:cNvPr id="2" name="Текст 1"/>
          <p:cNvSpPr>
            <a:spLocks noGrp="1"/>
          </p:cNvSpPr>
          <p:nvPr>
            <p:ph type="body" sz="quarter" idx="11"/>
          </p:nvPr>
        </p:nvSpPr>
        <p:spPr>
          <a:xfrm>
            <a:off x="203952" y="7327556"/>
            <a:ext cx="12399940" cy="1923427"/>
          </a:xfrm>
        </p:spPr>
        <p:txBody>
          <a:bodyPr>
            <a:normAutofit/>
          </a:bodyPr>
          <a:lstStyle/>
          <a:p>
            <a:pPr marL="0" indent="0">
              <a:tabLst>
                <a:tab pos="0" algn="l"/>
              </a:tabLst>
            </a:pPr>
            <a:r>
              <a:rPr lang="ru-RU" sz="2800" b="1" dirty="0" smtClean="0">
                <a:latin typeface="PF Centro Sans Pro" panose="02000500000000020004" pitchFamily="50" charset="0"/>
              </a:rPr>
              <a:t>АО </a:t>
            </a:r>
            <a:r>
              <a:rPr lang="en-US" sz="2800" b="1" dirty="0" smtClean="0">
                <a:latin typeface="PF Centro Sans Pro" panose="02000500000000020004" pitchFamily="50" charset="0"/>
              </a:rPr>
              <a:t>“</a:t>
            </a:r>
            <a:r>
              <a:rPr lang="ru-RU" sz="2800" b="1" dirty="0" smtClean="0">
                <a:latin typeface="PF Centro Sans Pro" panose="02000500000000020004" pitchFamily="50" charset="0"/>
              </a:rPr>
              <a:t>Электропривод</a:t>
            </a:r>
            <a:r>
              <a:rPr lang="en-US" sz="2800" b="1" dirty="0" smtClean="0">
                <a:latin typeface="PF Centro Sans Pro" panose="02000500000000020004" pitchFamily="50" charset="0"/>
              </a:rPr>
              <a:t>”</a:t>
            </a:r>
            <a:endParaRPr lang="ru-RU" sz="2800" b="1" dirty="0" smtClean="0">
              <a:latin typeface="PF Centro Sans Pro" panose="02000500000000020004" pitchFamily="50" charset="0"/>
            </a:endParaRPr>
          </a:p>
          <a:p>
            <a:pPr marL="0" indent="0">
              <a:tabLst>
                <a:tab pos="0" algn="l"/>
              </a:tabLst>
            </a:pPr>
            <a:r>
              <a:rPr lang="ru-RU" sz="2800" b="1" dirty="0"/>
              <a:t>Развитие производственных мощностей как инструмент увеличения производственного потенциала предприятия </a:t>
            </a:r>
            <a:endParaRPr lang="ru-RU" sz="2800" dirty="0">
              <a:latin typeface="PF Centro Sans Pro" panose="02000500000000020004" pitchFamily="50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1073545" y="9209510"/>
            <a:ext cx="109299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0" baseline="30000" dirty="0" smtClean="0">
                <a:solidFill>
                  <a:schemeClr val="bg1"/>
                </a:solidFill>
                <a:latin typeface="PF Centro Sans Pro" panose="02000500000000020004" pitchFamily="2" charset="0"/>
              </a:rPr>
              <a:t>Электропривод</a:t>
            </a:r>
            <a:endParaRPr lang="en-US" sz="1350" baseline="30000" dirty="0">
              <a:solidFill>
                <a:schemeClr val="bg1"/>
              </a:solidFill>
              <a:latin typeface="PF Centro Sans Pro" panose="02000500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5984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94268" y="-765063"/>
          <a:ext cx="1893" cy="18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009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494268" y="-765063"/>
                        <a:ext cx="1893" cy="18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492371" y="-766960"/>
            <a:ext cx="189373" cy="189373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432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5" name="Текст 2"/>
          <p:cNvSpPr>
            <a:spLocks noGrp="1"/>
          </p:cNvSpPr>
          <p:nvPr>
            <p:ph type="body" sz="quarter" idx="13"/>
          </p:nvPr>
        </p:nvSpPr>
        <p:spPr>
          <a:xfrm>
            <a:off x="293390" y="457600"/>
            <a:ext cx="11481671" cy="787898"/>
          </a:xfrm>
        </p:spPr>
        <p:txBody>
          <a:bodyPr vert="horz" lIns="91440" tIns="45720" rIns="91440" bIns="45720" rtlCol="0">
            <a:noAutofit/>
          </a:bodyPr>
          <a:lstStyle/>
          <a:p>
            <a:pPr marL="0" indent="0">
              <a:buNone/>
            </a:pPr>
            <a:r>
              <a:rPr lang="ru-RU" sz="2000" b="1" noProof="1">
                <a:latin typeface="PF Centro Sans Pro" panose="02000500000000020004" pitchFamily="50" charset="0"/>
              </a:rPr>
              <a:t>Предложения по увеличению </a:t>
            </a:r>
            <a:r>
              <a:rPr lang="ru-RU" sz="2000" b="1" dirty="0">
                <a:latin typeface="PF Centro Sans Pro" panose="02000500000000020004" pitchFamily="50" charset="0"/>
              </a:rPr>
              <a:t>производственных</a:t>
            </a:r>
          </a:p>
          <a:p>
            <a:pPr marL="0" indent="0">
              <a:buNone/>
            </a:pPr>
            <a:r>
              <a:rPr lang="ru-RU" sz="2000" b="1" dirty="0">
                <a:latin typeface="PF Centro Sans Pro" panose="02000500000000020004" pitchFamily="50" charset="0"/>
              </a:rPr>
              <a:t>мощностей предприятия</a:t>
            </a:r>
            <a:endParaRPr lang="ru-RU" sz="2000" b="1" noProof="1">
              <a:latin typeface="PF Centro Sans Pro" panose="02000500000000020004" pitchFamily="50" charset="0"/>
            </a:endParaRPr>
          </a:p>
        </p:txBody>
      </p:sp>
      <p:sp>
        <p:nvSpPr>
          <p:cNvPr id="30" name="Rectangle 6"/>
          <p:cNvSpPr/>
          <p:nvPr/>
        </p:nvSpPr>
        <p:spPr>
          <a:xfrm>
            <a:off x="0" y="1711060"/>
            <a:ext cx="12801600" cy="123401"/>
          </a:xfrm>
          <a:prstGeom prst="rect">
            <a:avLst/>
          </a:prstGeom>
          <a:solidFill>
            <a:srgbClr val="5E85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5"/>
          </p:nvPr>
        </p:nvSpPr>
        <p:spPr>
          <a:xfrm>
            <a:off x="11024256" y="8984394"/>
            <a:ext cx="1454022" cy="511175"/>
          </a:xfrm>
        </p:spPr>
        <p:txBody>
          <a:bodyPr/>
          <a:lstStyle/>
          <a:p>
            <a:pPr algn="r"/>
            <a:fld id="{507BA088-F718-4C29-B79D-C60B6090533A}" type="datetime1">
              <a:rPr lang="ru-RU" sz="1600" smtClean="0">
                <a:solidFill>
                  <a:srgbClr val="40C4F4"/>
                </a:solidFill>
                <a:latin typeface="PF Centro Sans Pro" panose="02000500000000020004" pitchFamily="50" charset="0"/>
              </a:rPr>
              <a:t>28.11.2022</a:t>
            </a:fld>
            <a:endParaRPr lang="en-US" sz="1600" dirty="0">
              <a:solidFill>
                <a:srgbClr val="40C4F4"/>
              </a:solidFill>
              <a:latin typeface="PF Centro Sans Pro" panose="02000500000000020004" pitchFamily="50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6447" y="496066"/>
            <a:ext cx="3432048" cy="749808"/>
          </a:xfrm>
          <a:prstGeom prst="rect">
            <a:avLst/>
          </a:prstGeom>
        </p:spPr>
      </p:pic>
      <p:sp>
        <p:nvSpPr>
          <p:cNvPr id="8" name="Нижний колонтитул 7"/>
          <p:cNvSpPr>
            <a:spLocks noGrp="1"/>
          </p:cNvSpPr>
          <p:nvPr>
            <p:ph type="ftr" sz="quarter" idx="16"/>
          </p:nvPr>
        </p:nvSpPr>
        <p:spPr>
          <a:xfrm>
            <a:off x="523240" y="9048500"/>
            <a:ext cx="1826638" cy="382962"/>
          </a:xfrm>
        </p:spPr>
        <p:txBody>
          <a:bodyPr/>
          <a:lstStyle/>
          <a:p>
            <a:pPr algn="l"/>
            <a:r>
              <a:rPr lang="ru-RU" sz="2200" baseline="30000" dirty="0">
                <a:solidFill>
                  <a:srgbClr val="00B0F0"/>
                </a:solidFill>
                <a:latin typeface="PF Centro Sans Pro" panose="02000500000000020004" pitchFamily="50" charset="0"/>
              </a:rPr>
              <a:t>АО "Электропривод"</a:t>
            </a:r>
            <a:endParaRPr lang="en-US" sz="2200" baseline="30000" dirty="0">
              <a:solidFill>
                <a:srgbClr val="00B0F0"/>
              </a:solidFill>
              <a:latin typeface="PF Centro Sans Pro" panose="02000500000000020004" pitchFamily="50" charset="0"/>
            </a:endParaRPr>
          </a:p>
        </p:txBody>
      </p:sp>
      <p:sp>
        <p:nvSpPr>
          <p:cNvPr id="50" name="Rectangle 7"/>
          <p:cNvSpPr>
            <a:spLocks noChangeArrowheads="1"/>
          </p:cNvSpPr>
          <p:nvPr/>
        </p:nvSpPr>
        <p:spPr bwMode="auto">
          <a:xfrm>
            <a:off x="96698" y="3443993"/>
            <a:ext cx="184731" cy="5133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 sz="2736"/>
          </a:p>
        </p:txBody>
      </p:sp>
      <p:sp>
        <p:nvSpPr>
          <p:cNvPr id="2" name="TextBox 1"/>
          <p:cNvSpPr txBox="1"/>
          <p:nvPr/>
        </p:nvSpPr>
        <p:spPr>
          <a:xfrm>
            <a:off x="263457" y="1977687"/>
            <a:ext cx="1225732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dirty="0" smtClean="0">
                <a:latin typeface="PF Centro Sans Pro" panose="02000500000000020004" pitchFamily="50" charset="0"/>
                <a:cs typeface="Times New Roman" panose="02020603050405020304" pitchFamily="18" charset="0"/>
              </a:rPr>
              <a:t>Проработаны предложения по увеличения </a:t>
            </a:r>
            <a:r>
              <a:rPr lang="ru-RU" sz="1800" dirty="0" smtClean="0">
                <a:latin typeface="PF Centro Sans Pro" panose="02000500000000020004" pitchFamily="50" charset="0"/>
                <a:cs typeface="Times New Roman" panose="02020603050405020304" pitchFamily="18" charset="0"/>
              </a:rPr>
              <a:t>производственных мощностей, </a:t>
            </a:r>
            <a:r>
              <a:rPr lang="ru-RU" sz="1800" dirty="0">
                <a:latin typeface="PF Centro Sans Pro" panose="02000500000000020004" pitchFamily="50" charset="0"/>
                <a:cs typeface="Times New Roman" panose="02020603050405020304" pitchFamily="18" charset="0"/>
              </a:rPr>
              <a:t>обеспечивающие поставку комплектующих в соответствии с объемами, соответствующими  Комплексной программе развития авиатранспортной отрасли Российской Федерации до 2030 </a:t>
            </a:r>
            <a:r>
              <a:rPr lang="ru-RU" sz="1800" dirty="0" smtClean="0">
                <a:latin typeface="PF Centro Sans Pro" panose="02000500000000020004" pitchFamily="50" charset="0"/>
                <a:cs typeface="Times New Roman" panose="02020603050405020304" pitchFamily="18" charset="0"/>
              </a:rPr>
              <a:t>года</a:t>
            </a:r>
            <a:r>
              <a:rPr lang="ru-RU" sz="1800" dirty="0" smtClean="0">
                <a:latin typeface="PF Centro Sans Pro" panose="02000500000000020004" pitchFamily="50" charset="0"/>
                <a:cs typeface="Times New Roman" panose="02020603050405020304" pitchFamily="18" charset="0"/>
              </a:rPr>
              <a:t>:</a:t>
            </a:r>
            <a:endParaRPr lang="ru-RU" sz="1800" dirty="0">
              <a:latin typeface="PF Centro Sans Pro" panose="02000500000000020004" pitchFamily="50" charset="0"/>
              <a:cs typeface="Times New Roman" panose="02020603050405020304" pitchFamily="18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5420588"/>
              </p:ext>
            </p:extLst>
          </p:nvPr>
        </p:nvGraphicFramePr>
        <p:xfrm>
          <a:off x="293390" y="3611745"/>
          <a:ext cx="8587374" cy="418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03915"/>
                <a:gridCol w="3583459"/>
              </a:tblGrid>
              <a:tr h="192135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latin typeface="PF Centro Sans Pro" panose="02000500000000020004" pitchFamily="50" charset="0"/>
                        </a:rPr>
                        <a:t>Мероприятия </a:t>
                      </a:r>
                      <a:endParaRPr lang="ru-RU" sz="1400" b="1" dirty="0">
                        <a:latin typeface="PF Centro Sans Pro" panose="02000500000000020004" pitchFamily="50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ru-RU" sz="1400" b="1" dirty="0">
                        <a:latin typeface="PF Centro Sans Pro" panose="02000500000000020004" pitchFamily="50" charset="0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latin typeface="PF Centro Sans Pro" panose="02000500000000020004" pitchFamily="50" charset="0"/>
                        </a:rPr>
                        <a:t>Обеспечение объемов производства</a:t>
                      </a:r>
                      <a:endParaRPr lang="ru-RU" sz="1400" b="1" dirty="0">
                        <a:latin typeface="PF Centro Sans Pro" panose="02000500000000020004" pitchFamily="50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latin typeface="PF Centro Sans Pro" panose="02000500000000020004" pitchFamily="50" charset="0"/>
                        </a:rPr>
                        <a:t>Изготовление всей номенклатуры изделий для объектов </a:t>
                      </a:r>
                      <a:r>
                        <a:rPr lang="ru-RU" sz="1400" b="1" dirty="0" smtClean="0">
                          <a:latin typeface="PF Centro Sans Pro" panose="02000500000000020004" pitchFamily="50" charset="0"/>
                          <a:cs typeface="Times New Roman" panose="02020603050405020304" pitchFamily="18" charset="0"/>
                        </a:rPr>
                        <a:t>Комплексной программы в АО </a:t>
                      </a:r>
                      <a:r>
                        <a:rPr lang="en-US" sz="1400" b="1" dirty="0" smtClean="0">
                          <a:latin typeface="PF Centro Sans Pro" panose="02000500000000020004" pitchFamily="50" charset="0"/>
                          <a:cs typeface="Times New Roman" panose="02020603050405020304" pitchFamily="18" charset="0"/>
                        </a:rPr>
                        <a:t>“</a:t>
                      </a:r>
                      <a:r>
                        <a:rPr lang="ru-RU" sz="1400" b="1" dirty="0" smtClean="0">
                          <a:latin typeface="PF Centro Sans Pro" panose="02000500000000020004" pitchFamily="50" charset="0"/>
                          <a:cs typeface="Times New Roman" panose="02020603050405020304" pitchFamily="18" charset="0"/>
                        </a:rPr>
                        <a:t>Электропривод</a:t>
                      </a:r>
                      <a:r>
                        <a:rPr lang="en-US" sz="1400" b="1" dirty="0" smtClean="0">
                          <a:latin typeface="PF Centro Sans Pro" panose="02000500000000020004" pitchFamily="50" charset="0"/>
                          <a:cs typeface="Times New Roman" panose="02020603050405020304" pitchFamily="18" charset="0"/>
                        </a:rPr>
                        <a:t>”</a:t>
                      </a:r>
                      <a:r>
                        <a:rPr lang="ru-RU" sz="1400" b="1" dirty="0" smtClean="0">
                          <a:latin typeface="PF Centro Sans Pro" panose="02000500000000020004" pitchFamily="50" charset="0"/>
                          <a:cs typeface="Times New Roman" panose="02020603050405020304" pitchFamily="18" charset="0"/>
                        </a:rPr>
                        <a:t> </a:t>
                      </a:r>
                      <a:endParaRPr lang="ru-RU" sz="1400" b="1" dirty="0">
                        <a:latin typeface="PF Centro Sans Pro" panose="02000500000000020004" pitchFamily="50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latin typeface="PF Centro Sans Pro" panose="02000500000000020004" pitchFamily="50" charset="0"/>
                        </a:rPr>
                        <a:t>Требуемые инвестиции (млн. руб.), в </a:t>
                      </a:r>
                      <a:r>
                        <a:rPr lang="ru-RU" sz="1400" b="1" dirty="0" err="1" smtClean="0">
                          <a:latin typeface="PF Centro Sans Pro" panose="02000500000000020004" pitchFamily="50" charset="0"/>
                        </a:rPr>
                        <a:t>т.ч</a:t>
                      </a:r>
                      <a:r>
                        <a:rPr lang="ru-RU" sz="1400" b="1" dirty="0" smtClean="0">
                          <a:latin typeface="PF Centro Sans Pro" panose="02000500000000020004" pitchFamily="50" charset="0"/>
                        </a:rPr>
                        <a:t>.</a:t>
                      </a:r>
                      <a:endParaRPr lang="ru-RU" sz="1400" b="1" dirty="0">
                        <a:latin typeface="PF Centro Sans Pro" panose="02000500000000020004" pitchFamily="50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latin typeface="PF Centro Sans Pro" panose="02000500000000020004" pitchFamily="50" charset="0"/>
                        </a:rPr>
                        <a:t>1 226, 425</a:t>
                      </a:r>
                      <a:endParaRPr lang="ru-RU" sz="1400" b="1" dirty="0">
                        <a:latin typeface="PF Centro Sans Pro" panose="02000500000000020004" pitchFamily="50" charset="0"/>
                      </a:endParaRPr>
                    </a:p>
                  </a:txBody>
                  <a:tcPr/>
                </a:tc>
              </a:tr>
              <a:tr h="152400"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PF Centro Sans Pro" panose="02000500000000020004" pitchFamily="50" charset="0"/>
                        </a:rPr>
                        <a:t>- </a:t>
                      </a:r>
                      <a:r>
                        <a:rPr lang="ru-RU" sz="1400" baseline="0" dirty="0" smtClean="0">
                          <a:latin typeface="PF Centro Sans Pro" panose="02000500000000020004" pitchFamily="50" charset="0"/>
                        </a:rPr>
                        <a:t>на приобретение технологического оборудования, млн. руб.</a:t>
                      </a:r>
                      <a:endParaRPr lang="ru-RU" sz="1400" dirty="0">
                        <a:latin typeface="PF Centro Sans Pro" panose="02000500000000020004" pitchFamily="50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PF Centro Sans Pro" panose="02000500000000020004" pitchFamily="50" charset="0"/>
                        </a:rPr>
                        <a:t> 712, 812  </a:t>
                      </a:r>
                      <a:endParaRPr lang="ru-RU" sz="1400" dirty="0">
                        <a:latin typeface="PF Centro Sans Pro" panose="02000500000000020004" pitchFamily="50" charset="0"/>
                      </a:endParaRPr>
                    </a:p>
                  </a:txBody>
                  <a:tcPr/>
                </a:tc>
              </a:tr>
              <a:tr h="259080">
                <a:tc>
                  <a:txBody>
                    <a:bodyPr/>
                    <a:lstStyle/>
                    <a:p>
                      <a:pPr marL="0" marR="0" indent="0" algn="l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PF Centro Sans Pro" panose="02000500000000020004" pitchFamily="50" charset="0"/>
                        </a:rPr>
                        <a:t>- </a:t>
                      </a:r>
                      <a:r>
                        <a:rPr lang="ru-RU" sz="1400" baseline="0" dirty="0" smtClean="0">
                          <a:latin typeface="PF Centro Sans Pro" panose="02000500000000020004" pitchFamily="50" charset="0"/>
                        </a:rPr>
                        <a:t>на приобретение испытательного оборудования, млн. руб.</a:t>
                      </a:r>
                      <a:endParaRPr lang="ru-RU" sz="1400" dirty="0" smtClean="0">
                        <a:latin typeface="PF Centro Sans Pro" panose="02000500000000020004" pitchFamily="50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PF Centro Sans Pro" panose="02000500000000020004" pitchFamily="50" charset="0"/>
                        </a:rPr>
                        <a:t>207,96</a:t>
                      </a:r>
                      <a:endParaRPr lang="ru-RU" sz="1400" dirty="0">
                        <a:latin typeface="PF Centro Sans Pro" panose="02000500000000020004" pitchFamily="50" charset="0"/>
                      </a:endParaRPr>
                    </a:p>
                  </a:txBody>
                  <a:tcPr/>
                </a:tc>
              </a:tr>
              <a:tr h="259080">
                <a:tc>
                  <a:txBody>
                    <a:bodyPr/>
                    <a:lstStyle/>
                    <a:p>
                      <a:pPr marL="0" marR="0" indent="0" algn="l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PF Centro Sans Pro" panose="02000500000000020004" pitchFamily="50" charset="0"/>
                        </a:rPr>
                        <a:t>- на приобретение метрологического оборудования,</a:t>
                      </a:r>
                      <a:r>
                        <a:rPr lang="ru-RU" sz="1400" baseline="0" dirty="0" smtClean="0">
                          <a:latin typeface="PF Centro Sans Pro" panose="02000500000000020004" pitchFamily="50" charset="0"/>
                        </a:rPr>
                        <a:t> млн. руб.</a:t>
                      </a:r>
                      <a:endParaRPr lang="ru-RU" sz="1400" dirty="0" smtClean="0">
                        <a:latin typeface="PF Centro Sans Pro" panose="02000500000000020004" pitchFamily="50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PF Centro Sans Pro" panose="02000500000000020004" pitchFamily="50" charset="0"/>
                        </a:rPr>
                        <a:t>59,037</a:t>
                      </a:r>
                      <a:endParaRPr lang="ru-RU" sz="1400" dirty="0">
                        <a:latin typeface="PF Centro Sans Pro" panose="02000500000000020004" pitchFamily="50" charset="0"/>
                      </a:endParaRPr>
                    </a:p>
                  </a:txBody>
                  <a:tcPr/>
                </a:tc>
              </a:tr>
              <a:tr h="152400">
                <a:tc>
                  <a:txBody>
                    <a:bodyPr/>
                    <a:lstStyle/>
                    <a:p>
                      <a:pPr marL="0" marR="0" indent="0" algn="l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PF Centro Sans Pro" panose="02000500000000020004" pitchFamily="50" charset="0"/>
                        </a:rPr>
                        <a:t>- на приобретение испытательной оснастки и технологической,</a:t>
                      </a:r>
                      <a:r>
                        <a:rPr lang="ru-RU" sz="1400" baseline="0" dirty="0" smtClean="0">
                          <a:latin typeface="PF Centro Sans Pro" panose="02000500000000020004" pitchFamily="50" charset="0"/>
                        </a:rPr>
                        <a:t> млн. руб.</a:t>
                      </a:r>
                      <a:endParaRPr lang="ru-RU" sz="1400" dirty="0" smtClean="0">
                        <a:latin typeface="PF Centro Sans Pro" panose="02000500000000020004" pitchFamily="50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PF Centro Sans Pro" panose="02000500000000020004" pitchFamily="50" charset="0"/>
                        </a:rPr>
                        <a:t>57,8</a:t>
                      </a:r>
                      <a:endParaRPr lang="ru-RU" sz="1400" dirty="0">
                        <a:latin typeface="PF Centro Sans Pro" panose="02000500000000020004" pitchFamily="50" charset="0"/>
                      </a:endParaRPr>
                    </a:p>
                  </a:txBody>
                  <a:tcPr/>
                </a:tc>
              </a:tr>
              <a:tr h="152400">
                <a:tc>
                  <a:txBody>
                    <a:bodyPr/>
                    <a:lstStyle/>
                    <a:p>
                      <a:pPr marL="0" marR="0" indent="0" algn="l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PF Centro Sans Pro" panose="02000500000000020004" pitchFamily="50" charset="0"/>
                        </a:rPr>
                        <a:t>- на</a:t>
                      </a:r>
                      <a:r>
                        <a:rPr lang="ru-RU" sz="1400" baseline="0" dirty="0" smtClean="0">
                          <a:latin typeface="PF Centro Sans Pro" panose="02000500000000020004" pitchFamily="50" charset="0"/>
                        </a:rPr>
                        <a:t> приобретение режущего вспомогательного инструмента, млн. руб.</a:t>
                      </a:r>
                      <a:endParaRPr lang="ru-RU" sz="1400" dirty="0" smtClean="0">
                        <a:latin typeface="PF Centro Sans Pro" panose="02000500000000020004" pitchFamily="50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PF Centro Sans Pro" panose="02000500000000020004" pitchFamily="50" charset="0"/>
                        </a:rPr>
                        <a:t>122</a:t>
                      </a:r>
                      <a:endParaRPr lang="ru-RU" sz="1400" dirty="0">
                        <a:latin typeface="PF Centro Sans Pro" panose="02000500000000020004" pitchFamily="50" charset="0"/>
                      </a:endParaRPr>
                    </a:p>
                  </a:txBody>
                  <a:tcPr/>
                </a:tc>
              </a:tr>
              <a:tr h="152400">
                <a:tc>
                  <a:txBody>
                    <a:bodyPr/>
                    <a:lstStyle/>
                    <a:p>
                      <a:pPr marL="0" marR="0" indent="0" algn="l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PF Centro Sans Pro" panose="02000500000000020004" pitchFamily="50" charset="0"/>
                        </a:rPr>
                        <a:t>Реконструкция производственных площадей,</a:t>
                      </a:r>
                      <a:r>
                        <a:rPr lang="ru-RU" sz="1400" baseline="0" dirty="0" smtClean="0">
                          <a:latin typeface="PF Centro Sans Pro" panose="02000500000000020004" pitchFamily="50" charset="0"/>
                        </a:rPr>
                        <a:t> млн. руб.</a:t>
                      </a:r>
                      <a:endParaRPr lang="ru-RU" sz="1400" dirty="0" smtClean="0">
                        <a:latin typeface="PF Centro Sans Pro" panose="02000500000000020004" pitchFamily="50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PF Centro Sans Pro" panose="02000500000000020004" pitchFamily="50" charset="0"/>
                        </a:rPr>
                        <a:t>68,615</a:t>
                      </a:r>
                      <a:endParaRPr lang="ru-RU" sz="1400" dirty="0">
                        <a:latin typeface="PF Centro Sans Pro" panose="02000500000000020004" pitchFamily="50" charset="0"/>
                      </a:endParaRPr>
                    </a:p>
                  </a:txBody>
                  <a:tcPr/>
                </a:tc>
              </a:tr>
              <a:tr h="185420"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latin typeface="PF Centro Sans Pro" panose="02000500000000020004" pitchFamily="50" charset="0"/>
                        </a:rPr>
                        <a:t>Дополнительный персонал для обеспечения объемов производства, чел.</a:t>
                      </a:r>
                      <a:endParaRPr lang="ru-RU" sz="1400" b="1" dirty="0">
                        <a:latin typeface="PF Centro Sans Pro" panose="02000500000000020004" pitchFamily="50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latin typeface="PF Centro Sans Pro" panose="02000500000000020004" pitchFamily="50" charset="0"/>
                        </a:rPr>
                        <a:t>149</a:t>
                      </a:r>
                      <a:endParaRPr lang="ru-RU" sz="1400" b="1" dirty="0">
                        <a:latin typeface="PF Centro Sans Pro" panose="02000500000000020004" pitchFamily="50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360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94268" y="-765063"/>
          <a:ext cx="1893" cy="18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542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494268" y="-765063"/>
                        <a:ext cx="1893" cy="18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492371" y="-766960"/>
            <a:ext cx="189373" cy="189373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432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5" name="Текст 2"/>
          <p:cNvSpPr>
            <a:spLocks noGrp="1"/>
          </p:cNvSpPr>
          <p:nvPr>
            <p:ph type="body" sz="quarter" idx="13"/>
          </p:nvPr>
        </p:nvSpPr>
        <p:spPr>
          <a:xfrm>
            <a:off x="377310" y="407505"/>
            <a:ext cx="11481671" cy="1168946"/>
          </a:xfrm>
        </p:spPr>
        <p:txBody>
          <a:bodyPr vert="horz" lIns="91440" tIns="45720" rIns="91440" bIns="45720" rtlCol="0" anchor="ctr">
            <a:noAutofit/>
          </a:bodyPr>
          <a:lstStyle/>
          <a:p>
            <a:pPr marL="0" indent="0">
              <a:buNone/>
            </a:pPr>
            <a:r>
              <a:rPr lang="ru-RU" sz="2000" b="1" dirty="0" smtClean="0">
                <a:latin typeface="PF Centro Sans Pro" panose="02000500000000020004" pitchFamily="50" charset="0"/>
              </a:rPr>
              <a:t>Дополнительный персонал для расширения производства.</a:t>
            </a:r>
          </a:p>
        </p:txBody>
      </p:sp>
      <p:sp>
        <p:nvSpPr>
          <p:cNvPr id="30" name="Rectangle 6"/>
          <p:cNvSpPr/>
          <p:nvPr/>
        </p:nvSpPr>
        <p:spPr>
          <a:xfrm>
            <a:off x="0" y="1711060"/>
            <a:ext cx="12801600" cy="123401"/>
          </a:xfrm>
          <a:prstGeom prst="rect">
            <a:avLst/>
          </a:prstGeom>
          <a:solidFill>
            <a:srgbClr val="5E85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5"/>
          </p:nvPr>
        </p:nvSpPr>
        <p:spPr>
          <a:xfrm>
            <a:off x="11024256" y="8984394"/>
            <a:ext cx="1454022" cy="511175"/>
          </a:xfrm>
        </p:spPr>
        <p:txBody>
          <a:bodyPr/>
          <a:lstStyle/>
          <a:p>
            <a:pPr algn="r"/>
            <a:fld id="{507BA088-F718-4C29-B79D-C60B6090533A}" type="datetime1">
              <a:rPr lang="ru-RU" sz="1600" smtClean="0">
                <a:solidFill>
                  <a:srgbClr val="40C4F4"/>
                </a:solidFill>
                <a:latin typeface="PF Centro Sans Pro" panose="02000500000000020004" pitchFamily="50" charset="0"/>
              </a:rPr>
              <a:t>28.11.2022</a:t>
            </a:fld>
            <a:endParaRPr lang="en-US" sz="1600" dirty="0">
              <a:solidFill>
                <a:srgbClr val="40C4F4"/>
              </a:solidFill>
              <a:latin typeface="PF Centro Sans Pro" panose="02000500000000020004" pitchFamily="50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6447" y="496066"/>
            <a:ext cx="3432048" cy="749808"/>
          </a:xfrm>
          <a:prstGeom prst="rect">
            <a:avLst/>
          </a:prstGeom>
        </p:spPr>
      </p:pic>
      <p:sp>
        <p:nvSpPr>
          <p:cNvPr id="8" name="Нижний колонтитул 7"/>
          <p:cNvSpPr>
            <a:spLocks noGrp="1"/>
          </p:cNvSpPr>
          <p:nvPr>
            <p:ph type="ftr" sz="quarter" idx="16"/>
          </p:nvPr>
        </p:nvSpPr>
        <p:spPr>
          <a:xfrm>
            <a:off x="523240" y="9048500"/>
            <a:ext cx="1826638" cy="382962"/>
          </a:xfrm>
        </p:spPr>
        <p:txBody>
          <a:bodyPr/>
          <a:lstStyle/>
          <a:p>
            <a:pPr algn="l"/>
            <a:r>
              <a:rPr lang="ru-RU" sz="2200" baseline="30000" dirty="0">
                <a:solidFill>
                  <a:srgbClr val="00B0F0"/>
                </a:solidFill>
                <a:latin typeface="PF Centro Sans Pro" panose="02000500000000020004" pitchFamily="50" charset="0"/>
              </a:rPr>
              <a:t>АО "Электропривод"</a:t>
            </a:r>
            <a:endParaRPr lang="en-US" sz="2200" baseline="30000" dirty="0">
              <a:solidFill>
                <a:srgbClr val="00B0F0"/>
              </a:solidFill>
              <a:latin typeface="PF Centro Sans Pro" panose="02000500000000020004" pitchFamily="50" charset="0"/>
            </a:endParaRPr>
          </a:p>
        </p:txBody>
      </p:sp>
      <p:sp>
        <p:nvSpPr>
          <p:cNvPr id="50" name="Rectangle 7"/>
          <p:cNvSpPr>
            <a:spLocks noChangeArrowheads="1"/>
          </p:cNvSpPr>
          <p:nvPr/>
        </p:nvSpPr>
        <p:spPr bwMode="auto">
          <a:xfrm>
            <a:off x="96698" y="3443993"/>
            <a:ext cx="184731" cy="5133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 sz="2736"/>
          </a:p>
        </p:txBody>
      </p:sp>
      <p:sp>
        <p:nvSpPr>
          <p:cNvPr id="3" name="Прямоугольник 2"/>
          <p:cNvSpPr/>
          <p:nvPr/>
        </p:nvSpPr>
        <p:spPr>
          <a:xfrm>
            <a:off x="281429" y="1883973"/>
            <a:ext cx="12334820" cy="68570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u="sng" dirty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По отделу главного метролога:</a:t>
            </a:r>
            <a:endParaRPr lang="ru-RU" sz="1200" b="1" dirty="0">
              <a:latin typeface="PF Centro Sans Pro" panose="02000500000000020004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ru-RU" sz="1400" dirty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Для поверки </a:t>
            </a:r>
            <a:r>
              <a:rPr lang="ru-RU" sz="1400" dirty="0" smtClean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возросшего количества средств измерения </a:t>
            </a:r>
            <a:r>
              <a:rPr lang="ru-RU" sz="1400" dirty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необходимо </a:t>
            </a:r>
            <a:r>
              <a:rPr lang="ru-RU" sz="1400" dirty="0" smtClean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принять </a:t>
            </a:r>
            <a:r>
              <a:rPr lang="ru-RU" sz="1400" dirty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1 </a:t>
            </a:r>
            <a:r>
              <a:rPr lang="ru-RU" sz="1400" dirty="0" err="1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поверителя</a:t>
            </a:r>
            <a:r>
              <a:rPr lang="ru-RU" sz="1400" dirty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-метролога.</a:t>
            </a:r>
            <a:endParaRPr lang="ru-RU" sz="1200" dirty="0">
              <a:latin typeface="PF Centro Sans Pro" panose="02000500000000020004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ru-RU" sz="1400" b="1" u="sng" dirty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По отделу технического контроля:</a:t>
            </a:r>
            <a:endParaRPr lang="ru-RU" sz="1200" b="1" dirty="0">
              <a:latin typeface="PF Centro Sans Pro" panose="02000500000000020004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ru-RU" sz="1400" dirty="0" smtClean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Принять 2 </a:t>
            </a:r>
            <a:r>
              <a:rPr lang="ru-RU" sz="1400" dirty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контрольных мастера, 2 контролёра сборочно-монтажных работ и </a:t>
            </a:r>
            <a:r>
              <a:rPr lang="ru-RU" sz="1400" dirty="0" smtClean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10 </a:t>
            </a:r>
            <a:r>
              <a:rPr lang="ru-RU" sz="1400" dirty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контролёров </a:t>
            </a:r>
            <a:r>
              <a:rPr lang="ru-RU" sz="1400" dirty="0" err="1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станочно</a:t>
            </a:r>
            <a:r>
              <a:rPr lang="ru-RU" sz="1400" dirty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-слесарных работ.</a:t>
            </a:r>
            <a:endParaRPr lang="ru-RU" sz="1200" dirty="0">
              <a:latin typeface="PF Centro Sans Pro" panose="02000500000000020004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ru-RU" sz="1400" b="1" u="sng" dirty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По службе менеджмента качества и отделу сертификации:</a:t>
            </a:r>
            <a:endParaRPr lang="ru-RU" sz="1200" b="1" dirty="0">
              <a:latin typeface="PF Centro Sans Pro" panose="02000500000000020004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ru-RU" sz="1400" dirty="0" smtClean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Требуется </a:t>
            </a:r>
            <a:r>
              <a:rPr lang="ru-RU" sz="1400" dirty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1 инженер по качеству и 1 инженер по сертификации.</a:t>
            </a:r>
            <a:endParaRPr lang="ru-RU" sz="1200" dirty="0">
              <a:latin typeface="PF Centro Sans Pro" panose="02000500000000020004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ru-RU" sz="1400" b="1" u="sng" dirty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По механическому цеху:</a:t>
            </a:r>
            <a:endParaRPr lang="ru-RU" sz="1200" b="1" dirty="0">
              <a:latin typeface="PF Centro Sans Pro" panose="02000500000000020004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400" dirty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Для работы на вновь приобретенном оборудовании </a:t>
            </a:r>
            <a:r>
              <a:rPr lang="ru-RU" sz="1400" dirty="0" smtClean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потребуется:</a:t>
            </a:r>
            <a:endParaRPr lang="ru-RU" sz="1200" dirty="0">
              <a:latin typeface="PF Centro Sans Pro" panose="02000500000000020004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400" dirty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Операторы станков с ЧПУ – 20 </a:t>
            </a:r>
            <a:endParaRPr lang="ru-RU" sz="1200" dirty="0">
              <a:latin typeface="PF Centro Sans Pro" panose="02000500000000020004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400" dirty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Фрезеровщиков – 2</a:t>
            </a:r>
            <a:endParaRPr lang="ru-RU" sz="1200" dirty="0">
              <a:latin typeface="PF Centro Sans Pro" panose="02000500000000020004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400" dirty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Оператор установки 3-d печати – 2</a:t>
            </a:r>
            <a:endParaRPr lang="ru-RU" sz="1200" dirty="0">
              <a:latin typeface="PF Centro Sans Pro" panose="02000500000000020004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400" dirty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Прочие специальности – 6 </a:t>
            </a:r>
            <a:endParaRPr lang="ru-RU" sz="1200" dirty="0">
              <a:latin typeface="PF Centro Sans Pro" panose="02000500000000020004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400" dirty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Управленческий персонал – 4 </a:t>
            </a:r>
            <a:endParaRPr lang="ru-RU" sz="1200" dirty="0">
              <a:latin typeface="PF Centro Sans Pro" panose="02000500000000020004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400" b="1" u="sng" dirty="0" smtClean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По </a:t>
            </a:r>
            <a:r>
              <a:rPr lang="ru-RU" sz="1400" b="1" u="sng" dirty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отделу главного </a:t>
            </a:r>
            <a:r>
              <a:rPr lang="ru-RU" sz="1400" b="1" u="sng" dirty="0" smtClean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технолога:</a:t>
            </a:r>
            <a:endParaRPr lang="ru-RU" sz="1200" b="1" dirty="0">
              <a:latin typeface="PF Centro Sans Pro" panose="02000500000000020004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400" dirty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Программист станков с ЧПУ  - 4</a:t>
            </a:r>
            <a:endParaRPr lang="ru-RU" sz="1200" dirty="0">
              <a:latin typeface="PF Centro Sans Pro" panose="02000500000000020004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400" dirty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Инженер – технолог </a:t>
            </a:r>
            <a:r>
              <a:rPr lang="ru-RU" sz="1400" dirty="0" err="1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мехобработки</a:t>
            </a:r>
            <a:r>
              <a:rPr lang="ru-RU" sz="1400" dirty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 – 4</a:t>
            </a:r>
            <a:endParaRPr lang="ru-RU" sz="1200" dirty="0">
              <a:latin typeface="PF Centro Sans Pro" panose="02000500000000020004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400" dirty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Инженер – технолог сборка  – 2</a:t>
            </a:r>
            <a:endParaRPr lang="ru-RU" sz="1200" dirty="0">
              <a:latin typeface="PF Centro Sans Pro" panose="02000500000000020004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400" dirty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Инженер – конструктор – 2</a:t>
            </a:r>
            <a:endParaRPr lang="ru-RU" sz="1200" dirty="0">
              <a:latin typeface="PF Centro Sans Pro" panose="02000500000000020004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400" b="1" u="sng" dirty="0" smtClean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По </a:t>
            </a:r>
            <a:r>
              <a:rPr lang="ru-RU" sz="1400" b="1" u="sng" dirty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экспериментально-исследовательскому </a:t>
            </a:r>
            <a:r>
              <a:rPr lang="ru-RU" sz="1400" b="1" u="sng" dirty="0" smtClean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отделу:</a:t>
            </a:r>
            <a:endParaRPr lang="ru-RU" sz="1200" b="1" dirty="0">
              <a:latin typeface="PF Centro Sans Pro" panose="02000500000000020004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400" dirty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Инженер-испытатель (проведение испытаний изделий) – </a:t>
            </a:r>
            <a:r>
              <a:rPr lang="ru-RU" sz="1400" dirty="0" smtClean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40</a:t>
            </a:r>
            <a:endParaRPr lang="ru-RU" sz="1200" dirty="0">
              <a:latin typeface="PF Centro Sans Pro" panose="02000500000000020004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400" dirty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Инженер-испытатель (гр. входного контроля) – 5</a:t>
            </a:r>
            <a:endParaRPr lang="ru-RU" sz="1200" dirty="0">
              <a:latin typeface="PF Centro Sans Pro" panose="02000500000000020004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400" dirty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Инженер-испытатель (гр. сопровождения испытаний) – 6</a:t>
            </a:r>
            <a:endParaRPr lang="ru-RU" sz="1200" dirty="0">
              <a:latin typeface="PF Centro Sans Pro" panose="02000500000000020004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400" dirty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Инженер-испытатель (гр. эксплуатации) – 4</a:t>
            </a:r>
            <a:endParaRPr lang="ru-RU" sz="1200" dirty="0">
              <a:latin typeface="PF Centro Sans Pro" panose="02000500000000020004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ru-RU" sz="1400" b="1" u="sng" dirty="0" smtClean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По </a:t>
            </a:r>
            <a:r>
              <a:rPr lang="ru-RU" sz="1400" b="1" u="sng" dirty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конструкторскому отделу:</a:t>
            </a:r>
          </a:p>
          <a:p>
            <a:pPr>
              <a:lnSpc>
                <a:spcPct val="107000"/>
              </a:lnSpc>
            </a:pPr>
            <a:r>
              <a:rPr lang="ru-RU" sz="1400" dirty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Инженер-конструктор (сопровождение производства) – </a:t>
            </a:r>
            <a:r>
              <a:rPr lang="ru-RU" sz="1400" dirty="0" smtClean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15</a:t>
            </a:r>
          </a:p>
          <a:p>
            <a:pPr>
              <a:lnSpc>
                <a:spcPct val="107000"/>
              </a:lnSpc>
            </a:pPr>
            <a:r>
              <a:rPr lang="ru-RU" sz="1400" b="1" u="sng" dirty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Специалисты других </a:t>
            </a:r>
            <a:r>
              <a:rPr lang="ru-RU" sz="1400" b="1" u="sng" dirty="0" smtClean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подразделений:</a:t>
            </a:r>
            <a:endParaRPr lang="ru-RU" sz="1400" b="1" u="sng" dirty="0">
              <a:latin typeface="PF Centro Sans Pro" panose="02000500000000020004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ru-RU" sz="1400" dirty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Бухгалтерия, ПЭО, ИТ-отдел,  отдел ДОУ и др. - 16</a:t>
            </a:r>
          </a:p>
          <a:p>
            <a:endParaRPr lang="ru-RU" sz="1400" dirty="0" smtClean="0">
              <a:latin typeface="PF Centro Sans Pro" panose="02000500000000020004" pitchFamily="50" charset="0"/>
              <a:ea typeface="Calibri" panose="020F0502020204030204" pitchFamily="34" charset="0"/>
            </a:endParaRPr>
          </a:p>
          <a:p>
            <a:r>
              <a:rPr lang="ru-RU" sz="1400" dirty="0" smtClean="0">
                <a:latin typeface="PF Centro Sans Pro" panose="02000500000000020004" pitchFamily="50" charset="0"/>
                <a:ea typeface="Calibri" panose="020F0502020204030204" pitchFamily="34" charset="0"/>
              </a:rPr>
              <a:t>Общее </a:t>
            </a:r>
            <a:r>
              <a:rPr lang="ru-RU" sz="1400" dirty="0">
                <a:latin typeface="PF Centro Sans Pro" panose="02000500000000020004" pitchFamily="50" charset="0"/>
                <a:ea typeface="Calibri" panose="020F0502020204030204" pitchFamily="34" charset="0"/>
              </a:rPr>
              <a:t>потребное количество дополнительного персонала: </a:t>
            </a:r>
            <a:r>
              <a:rPr lang="ru-RU" sz="1400" b="1" dirty="0">
                <a:latin typeface="PF Centro Sans Pro" panose="02000500000000020004" pitchFamily="50" charset="0"/>
                <a:ea typeface="Calibri" panose="020F0502020204030204" pitchFamily="34" charset="0"/>
              </a:rPr>
              <a:t>149</a:t>
            </a:r>
            <a:r>
              <a:rPr lang="ru-RU" sz="1400" dirty="0">
                <a:latin typeface="PF Centro Sans Pro" panose="02000500000000020004" pitchFamily="50" charset="0"/>
                <a:ea typeface="Calibri" panose="020F0502020204030204" pitchFamily="34" charset="0"/>
              </a:rPr>
              <a:t> человек.</a:t>
            </a:r>
            <a:endParaRPr lang="ru-RU" sz="1400" dirty="0">
              <a:latin typeface="PF Centro Sans Pro" panose="02000500000000020004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95796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F339ED8-159E-4E1F-BA65-40F83343A4C2}" type="datetime1">
              <a:rPr lang="ru-RU" smtClean="0"/>
              <a:t>28.11.2022</a:t>
            </a:fld>
            <a:endParaRPr lang="en-US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ru-RU" smtClean="0"/>
              <a:t>АО "Электропривод"</a:t>
            </a:r>
            <a:endParaRPr lang="en-US" dirty="0"/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3935002"/>
              </p:ext>
            </p:extLst>
          </p:nvPr>
        </p:nvGraphicFramePr>
        <p:xfrm>
          <a:off x="382270" y="2651919"/>
          <a:ext cx="6311900" cy="657987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711700"/>
                <a:gridCol w="571500"/>
                <a:gridCol w="1028700"/>
              </a:tblGrid>
              <a:tr h="28575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Нименование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оборудования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ол-во, </a:t>
                      </a:r>
                      <a:r>
                        <a:rPr lang="ru-RU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шт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тоимость, млн. руб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accent1"/>
                    </a:solidFill>
                  </a:tcPr>
                </a:tc>
              </a:tr>
              <a:tr h="28575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 err="1">
                          <a:effectLst/>
                        </a:rPr>
                        <a:t>Зубофрезерный</a:t>
                      </a:r>
                      <a:r>
                        <a:rPr lang="ru-RU" sz="1400" u="none" strike="noStrike" dirty="0">
                          <a:effectLst/>
                        </a:rPr>
                        <a:t> станок BCH-332  или аналог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6,45</a:t>
                      </a:r>
                    </a:p>
                  </a:txBody>
                  <a:tcPr marL="9525" marR="9525" marT="9525" marB="0" anchor="b"/>
                </a:tc>
              </a:tr>
              <a:tr h="2286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>
                          <a:effectLst/>
                        </a:rPr>
                        <a:t>Листогиб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1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,49</a:t>
                      </a:r>
                    </a:p>
                  </a:txBody>
                  <a:tcPr marL="9525" marR="9525" marT="9525" marB="0" anchor="b"/>
                </a:tc>
              </a:tr>
              <a:tr h="23812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 err="1">
                          <a:effectLst/>
                        </a:rPr>
                        <a:t>Круглошлифовального</a:t>
                      </a:r>
                      <a:r>
                        <a:rPr lang="ru-RU" sz="1400" u="none" strike="noStrike" dirty="0">
                          <a:effectLst/>
                        </a:rPr>
                        <a:t> станок (КШ-1000 или аналог)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1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8,53</a:t>
                      </a:r>
                    </a:p>
                  </a:txBody>
                  <a:tcPr marL="9525" marR="9525" marT="9525" marB="0" anchor="b"/>
                </a:tc>
              </a:tr>
              <a:tr h="23812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>
                          <a:effectLst/>
                        </a:rPr>
                        <a:t>Резьбошлифовального станок (ВРШ-1250 или аналог)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1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6,31</a:t>
                      </a:r>
                    </a:p>
                  </a:txBody>
                  <a:tcPr marL="9525" marR="9525" marT="9525" marB="0" anchor="b"/>
                </a:tc>
              </a:tr>
              <a:tr h="71437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effectLst/>
                        </a:rPr>
                        <a:t>Токарный с ЧПУ с длиной обработки 1500 мм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9,50</a:t>
                      </a:r>
                    </a:p>
                  </a:txBody>
                  <a:tcPr marL="9525" marR="9525" marT="9525" marB="0" anchor="b"/>
                </a:tc>
              </a:tr>
              <a:tr h="55245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>
                          <a:effectLst/>
                        </a:rPr>
                        <a:t>Фрезерный горизонтальный обрабатывающий центр  двухпалетный MillStar JMH500  или Timeway HMC500 или  Tajmac-ZPS H-500  или аналог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2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2,48</a:t>
                      </a:r>
                    </a:p>
                  </a:txBody>
                  <a:tcPr marL="9525" marR="9525" marT="9525" marB="0" anchor="b"/>
                </a:tc>
              </a:tr>
              <a:tr h="47625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effectLst/>
                        </a:rPr>
                        <a:t>Многофункциональный токарный </a:t>
                      </a:r>
                      <a:r>
                        <a:rPr lang="ru-RU" sz="1400" u="none" strike="noStrike" dirty="0" err="1">
                          <a:effectLst/>
                        </a:rPr>
                        <a:t>обрабатывающтий</a:t>
                      </a:r>
                      <a:r>
                        <a:rPr lang="ru-RU" sz="1400" u="none" strike="noStrike" dirty="0">
                          <a:effectLst/>
                        </a:rPr>
                        <a:t> центр «HEADMAN» модели «Hi-5000» с задней бабкой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1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4,92</a:t>
                      </a:r>
                    </a:p>
                  </a:txBody>
                  <a:tcPr marL="9525" marR="9525" marT="9525" marB="0" anchor="b"/>
                </a:tc>
              </a:tr>
              <a:tr h="23812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effectLst/>
                        </a:rPr>
                        <a:t>Токарный обрабатывающий центр «HEADMAN» модели «Т65М-750» 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3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0,59</a:t>
                      </a:r>
                    </a:p>
                  </a:txBody>
                  <a:tcPr marL="9525" marR="9525" marT="9525" marB="0" anchor="b"/>
                </a:tc>
              </a:tr>
              <a:tr h="47625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>
                          <a:effectLst/>
                        </a:rPr>
                        <a:t>Центр обрабатывающий вертикально-фрезерный PRIMINER  модели VF1500 с ЧПУ Siemens 828D.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2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2,22</a:t>
                      </a:r>
                    </a:p>
                  </a:txBody>
                  <a:tcPr marL="9525" marR="9525" marT="9525" marB="0" anchor="b"/>
                </a:tc>
              </a:tr>
              <a:tr h="23812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>
                          <a:effectLst/>
                        </a:rPr>
                        <a:t>Пресс правильный СК-800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1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,99</a:t>
                      </a:r>
                    </a:p>
                  </a:txBody>
                  <a:tcPr marL="9525" marR="9525" marT="9525" marB="0" anchor="b"/>
                </a:tc>
              </a:tr>
              <a:tr h="51435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 err="1">
                          <a:effectLst/>
                        </a:rPr>
                        <a:t>Электроэррозионный</a:t>
                      </a:r>
                      <a:r>
                        <a:rPr lang="ru-RU" sz="1400" u="none" strike="noStrike" dirty="0">
                          <a:effectLst/>
                        </a:rPr>
                        <a:t> станок </a:t>
                      </a:r>
                      <a:r>
                        <a:rPr lang="en-US" sz="1400" u="none" strike="noStrike" dirty="0" err="1">
                          <a:effectLst/>
                        </a:rPr>
                        <a:t>Fanuk</a:t>
                      </a:r>
                      <a:r>
                        <a:rPr lang="en-US" sz="1400" u="none" strike="noStrike" dirty="0">
                          <a:effectLst/>
                        </a:rPr>
                        <a:t> </a:t>
                      </a:r>
                      <a:r>
                        <a:rPr lang="en-US" sz="1400" u="none" strike="noStrike" dirty="0" err="1">
                          <a:effectLst/>
                        </a:rPr>
                        <a:t>Robocut</a:t>
                      </a:r>
                      <a:r>
                        <a:rPr lang="en-US" sz="1400" u="none" strike="noStrike" dirty="0">
                          <a:effectLst/>
                        </a:rPr>
                        <a:t> a-C600IB (</a:t>
                      </a:r>
                      <a:r>
                        <a:rPr lang="ru-RU" sz="1400" u="none" strike="noStrike" dirty="0">
                          <a:effectLst/>
                        </a:rPr>
                        <a:t>либо аналогичный  </a:t>
                      </a:r>
                      <a:r>
                        <a:rPr lang="en-US" sz="1400" u="none" strike="noStrike" dirty="0" err="1">
                          <a:effectLst/>
                        </a:rPr>
                        <a:t>sodik</a:t>
                      </a:r>
                      <a:r>
                        <a:rPr lang="en-US" sz="1400" u="none" strike="noStrike" dirty="0">
                          <a:effectLst/>
                        </a:rPr>
                        <a:t>),  </a:t>
                      </a:r>
                      <a:r>
                        <a:rPr lang="ru-RU" sz="1400" u="none" strike="noStrike" dirty="0">
                          <a:effectLst/>
                        </a:rPr>
                        <a:t>или </a:t>
                      </a:r>
                      <a:r>
                        <a:rPr lang="en-US" sz="1400" u="none" strike="noStrike" dirty="0">
                          <a:effectLst/>
                        </a:rPr>
                        <a:t>ARTA </a:t>
                      </a:r>
                      <a:r>
                        <a:rPr lang="en-US" sz="1400" u="none" strike="noStrike" dirty="0" err="1">
                          <a:effectLst/>
                        </a:rPr>
                        <a:t>eCut</a:t>
                      </a:r>
                      <a:r>
                        <a:rPr lang="en-US" sz="1400" u="none" strike="noStrike" dirty="0">
                          <a:effectLst/>
                        </a:rPr>
                        <a:t> 600 </a:t>
                      </a:r>
                      <a:r>
                        <a:rPr lang="en-US" sz="1400" u="none" strike="noStrike" dirty="0" err="1" smtClean="0">
                          <a:effectLst/>
                        </a:rPr>
                        <a:t>bkb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1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4,87</a:t>
                      </a:r>
                    </a:p>
                  </a:txBody>
                  <a:tcPr marL="9525" marR="9525" marT="9525" marB="0" anchor="b"/>
                </a:tc>
              </a:tr>
              <a:tr h="27622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effectLst/>
                        </a:rPr>
                        <a:t>Пружинонавивочный </a:t>
                      </a:r>
                      <a:r>
                        <a:rPr lang="ru-RU" sz="1400" u="none" strike="noStrike" dirty="0" smtClean="0">
                          <a:effectLst/>
                        </a:rPr>
                        <a:t>станок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2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,30</a:t>
                      </a:r>
                    </a:p>
                  </a:txBody>
                  <a:tcPr marL="9525" marR="9525" marT="9525" marB="0" anchor="b"/>
                </a:tc>
              </a:tr>
              <a:tr h="24765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effectLst/>
                        </a:rPr>
                        <a:t>Пружинонавивочный станок </a:t>
                      </a:r>
                      <a:r>
                        <a:rPr lang="ru-RU" sz="1400" u="none" strike="noStrike" dirty="0" smtClean="0">
                          <a:effectLst/>
                        </a:rPr>
                        <a:t> </a:t>
                      </a:r>
                      <a:r>
                        <a:rPr lang="ru-RU" sz="1400" u="none" strike="noStrike" dirty="0" err="1">
                          <a:effectLst/>
                        </a:rPr>
                        <a:t>мультиформер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1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,07</a:t>
                      </a:r>
                    </a:p>
                  </a:txBody>
                  <a:tcPr marL="9525" marR="9525" marT="9525" marB="0" anchor="b"/>
                </a:tc>
              </a:tr>
              <a:tr h="29527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>
                          <a:effectLst/>
                        </a:rPr>
                        <a:t>Плоскошлифовальный станок ЛШ630 или аналог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1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,35</a:t>
                      </a:r>
                    </a:p>
                  </a:txBody>
                  <a:tcPr marL="9525" marR="9525" marT="9525" marB="0" anchor="b"/>
                </a:tc>
              </a:tr>
              <a:tr h="3429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>
                          <a:effectLst/>
                        </a:rPr>
                        <a:t>Координатно-расточной станок 2В440АФ10,.   или аналог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3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6,99</a:t>
                      </a:r>
                    </a:p>
                  </a:txBody>
                  <a:tcPr marL="9525" marR="9525" marT="9525" marB="0" anchor="b"/>
                </a:tc>
              </a:tr>
              <a:tr h="23812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>
                          <a:effectLst/>
                        </a:rPr>
                        <a:t>Установка ТВЧ ТВЧ (закалочный станок) СЗВ-1002 или аналог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1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,47</a:t>
                      </a:r>
                    </a:p>
                  </a:txBody>
                  <a:tcPr marL="9525" marR="9525" marT="9525" marB="0" anchor="b"/>
                </a:tc>
              </a:tr>
              <a:tr h="24765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effectLst/>
                        </a:rPr>
                        <a:t>Вертикально-фрезерный универсальный </a:t>
                      </a:r>
                      <a:r>
                        <a:rPr lang="ru-RU" sz="1400" u="none" strike="noStrike" dirty="0" smtClean="0">
                          <a:effectLst/>
                        </a:rPr>
                        <a:t>станок</a:t>
                      </a:r>
                      <a:r>
                        <a:rPr lang="ru-RU" sz="1400" u="none" strike="noStrike" dirty="0">
                          <a:effectLst/>
                        </a:rPr>
                        <a:t> 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6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7,04</a:t>
                      </a: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2880314"/>
              </p:ext>
            </p:extLst>
          </p:nvPr>
        </p:nvGraphicFramePr>
        <p:xfrm>
          <a:off x="6916420" y="2651919"/>
          <a:ext cx="5707380" cy="691052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02841"/>
                <a:gridCol w="825332"/>
                <a:gridCol w="979207"/>
              </a:tblGrid>
              <a:tr h="42148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Нименование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оборудования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ол-во, </a:t>
                      </a:r>
                      <a:r>
                        <a:rPr lang="ru-RU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шт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тоимость, млн. руб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accent1"/>
                    </a:solidFill>
                  </a:tcPr>
                </a:tc>
              </a:tr>
              <a:tr h="68383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 err="1">
                          <a:effectLst/>
                        </a:rPr>
                        <a:t>Зачистная</a:t>
                      </a:r>
                      <a:r>
                        <a:rPr lang="ru-RU" sz="1400" u="none" strike="noStrike" dirty="0">
                          <a:effectLst/>
                        </a:rPr>
                        <a:t> машина 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2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,00</a:t>
                      </a:r>
                    </a:p>
                  </a:txBody>
                  <a:tcPr marL="9525" marR="9525" marT="9525" marB="0" anchor="b"/>
                </a:tc>
              </a:tr>
              <a:tr h="22794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>
                          <a:effectLst/>
                        </a:rPr>
                        <a:t>Установка капельной пропитки УКП-10-1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,20</a:t>
                      </a:r>
                    </a:p>
                  </a:txBody>
                  <a:tcPr marL="9525" marR="9525" marT="9525" marB="0" anchor="b"/>
                </a:tc>
              </a:tr>
              <a:tr h="22794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>
                          <a:effectLst/>
                        </a:rPr>
                        <a:t>Полуавтомат установки компонентов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2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5,98</a:t>
                      </a:r>
                    </a:p>
                  </a:txBody>
                  <a:tcPr marL="9525" marR="9525" marT="9525" marB="0" anchor="b"/>
                </a:tc>
              </a:tr>
              <a:tr h="22794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>
                          <a:effectLst/>
                        </a:rPr>
                        <a:t>Аппарат точечной сварки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1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71</a:t>
                      </a:r>
                    </a:p>
                  </a:txBody>
                  <a:tcPr marL="9525" marR="9525" marT="9525" marB="0" anchor="b"/>
                </a:tc>
              </a:tr>
              <a:tr h="22794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>
                          <a:effectLst/>
                        </a:rPr>
                        <a:t>Верстаки слесарные Viking или аналоги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8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,25</a:t>
                      </a:r>
                    </a:p>
                  </a:txBody>
                  <a:tcPr marL="9525" marR="9525" marT="9525" marB="0" anchor="b"/>
                </a:tc>
              </a:tr>
              <a:tr h="41759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>
                          <a:effectLst/>
                        </a:rPr>
                        <a:t>Верстаки электромонтажные</a:t>
                      </a:r>
                      <a:r>
                        <a:rPr lang="en-US" sz="1400" u="none" strike="noStrike">
                          <a:effectLst/>
                        </a:rPr>
                        <a:t>Viking </a:t>
                      </a:r>
                      <a:r>
                        <a:rPr lang="ru-RU" sz="1400" u="none" strike="noStrike">
                          <a:effectLst/>
                        </a:rPr>
                        <a:t>или аналоги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6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71</a:t>
                      </a:r>
                    </a:p>
                  </a:txBody>
                  <a:tcPr marL="9525" marR="9525" marT="9525" marB="0" anchor="b"/>
                </a:tc>
              </a:tr>
              <a:tr h="51971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>
                          <a:effectLst/>
                        </a:rPr>
                        <a:t>Пресс однокривошипный типа КД2118А или аналог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1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81</a:t>
                      </a:r>
                    </a:p>
                  </a:txBody>
                  <a:tcPr marL="9525" marR="9525" marT="9525" marB="0" anchor="b"/>
                </a:tc>
              </a:tr>
              <a:tr h="21882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>
                          <a:effectLst/>
                        </a:rPr>
                        <a:t>Резьбонарезной манипулятор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6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,52</a:t>
                      </a:r>
                    </a:p>
                  </a:txBody>
                  <a:tcPr marL="9525" marR="9525" marT="9525" marB="0" anchor="b"/>
                </a:tc>
              </a:tr>
              <a:tr h="22794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>
                          <a:effectLst/>
                        </a:rPr>
                        <a:t>Термостат SNOL 3.5.3.53.5\3 или аналог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4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63</a:t>
                      </a:r>
                    </a:p>
                  </a:txBody>
                  <a:tcPr marL="9525" marR="9525" marT="9525" marB="0" anchor="b"/>
                </a:tc>
              </a:tr>
              <a:tr h="22794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>
                          <a:effectLst/>
                        </a:rPr>
                        <a:t>Термостат КСК-ЭТ200-1Ф,  или аналог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2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,91</a:t>
                      </a:r>
                    </a:p>
                  </a:txBody>
                  <a:tcPr marL="9525" marR="9525" marT="9525" marB="0" anchor="b"/>
                </a:tc>
              </a:tr>
              <a:tr h="45589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>
                          <a:effectLst/>
                        </a:rPr>
                        <a:t>морозильник промышленный - -80град. С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1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60</a:t>
                      </a:r>
                    </a:p>
                  </a:txBody>
                  <a:tcPr marL="9525" marR="9525" marT="9525" marB="0" anchor="b"/>
                </a:tc>
              </a:tr>
              <a:tr h="45589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>
                          <a:effectLst/>
                        </a:rPr>
                        <a:t>Гильотинные гидравлические ножницы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1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,72</a:t>
                      </a:r>
                    </a:p>
                  </a:txBody>
                  <a:tcPr marL="9525" marR="9525" marT="9525" marB="0" anchor="b"/>
                </a:tc>
              </a:tr>
              <a:tr h="41759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>
                          <a:effectLst/>
                        </a:rPr>
                        <a:t>Зубонарезной станок для конических колёс 5С23ПФ3</a:t>
                      </a:r>
                      <a:endParaRPr lang="ru-RU" sz="14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1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7,00</a:t>
                      </a:r>
                    </a:p>
                  </a:txBody>
                  <a:tcPr marL="9525" marR="9525" marT="9525" marB="0" anchor="b"/>
                </a:tc>
              </a:tr>
              <a:tr h="41759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>
                          <a:effectLst/>
                        </a:rPr>
                        <a:t>Токарно-винторезный станок Trens SN 50-  или аналоги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5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0,69</a:t>
                      </a:r>
                    </a:p>
                  </a:txBody>
                  <a:tcPr marL="9525" marR="9525" marT="9525" marB="0" anchor="b"/>
                </a:tc>
              </a:tr>
              <a:tr h="24618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>
                          <a:effectLst/>
                        </a:rPr>
                        <a:t>Литьевая машина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2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,20</a:t>
                      </a:r>
                    </a:p>
                  </a:txBody>
                  <a:tcPr marL="9525" marR="9525" marT="9525" marB="0" anchor="b"/>
                </a:tc>
              </a:tr>
              <a:tr h="41759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>
                          <a:effectLst/>
                        </a:rPr>
                        <a:t>Двухдисковый притирочно-полировальный станок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1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,10</a:t>
                      </a:r>
                    </a:p>
                  </a:txBody>
                  <a:tcPr marL="9525" marR="9525" marT="9525" marB="0" anchor="b"/>
                </a:tc>
              </a:tr>
              <a:tr h="29446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>
                          <a:effectLst/>
                        </a:rPr>
                        <a:t>Пятиосевой фрезерный ОЦ 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1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2,69</a:t>
                      </a:r>
                    </a:p>
                  </a:txBody>
                  <a:tcPr marL="9525" marR="9525" marT="9525" marB="0" anchor="b"/>
                </a:tc>
              </a:tr>
              <a:tr h="292100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effectLst/>
                        </a:rPr>
                        <a:t>ПО СПРУТ САМ – 4 </a:t>
                      </a:r>
                      <a:r>
                        <a:rPr lang="ru-RU" sz="1400" u="none" strike="noStrike" dirty="0" err="1">
                          <a:effectLst/>
                        </a:rPr>
                        <a:t>р.м</a:t>
                      </a:r>
                      <a:r>
                        <a:rPr lang="ru-RU" sz="1400" u="none" strike="noStrike" dirty="0">
                          <a:effectLst/>
                        </a:rPr>
                        <a:t>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u="none" strike="noStrike">
                          <a:effectLst/>
                        </a:rPr>
                        <a:t>4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,52</a:t>
                      </a:r>
                    </a:p>
                  </a:txBody>
                  <a:tcPr marL="9525" marR="9525" marT="9525" marB="0" anchor="b"/>
                </a:tc>
              </a:tr>
              <a:tr h="227946"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ИТОГО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t"/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12,812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10" name="Текст 9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fontAlgn="ctr"/>
            <a:r>
              <a:rPr lang="ru-RU" sz="2000" b="1" dirty="0">
                <a:latin typeface="PF Centro Sans Pro" panose="02000500000000020004" pitchFamily="50" charset="0"/>
              </a:rPr>
              <a:t>Перечень </a:t>
            </a:r>
            <a:r>
              <a:rPr lang="ru-RU" sz="2000" b="1" dirty="0" smtClean="0">
                <a:latin typeface="PF Centro Sans Pro" panose="02000500000000020004" pitchFamily="50" charset="0"/>
              </a:rPr>
              <a:t>технологического оборудования </a:t>
            </a:r>
            <a:endParaRPr lang="ru-RU" dirty="0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6447" y="496066"/>
            <a:ext cx="3432048" cy="749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469984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94268" y="-765063"/>
          <a:ext cx="1893" cy="18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111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494268" y="-765063"/>
                        <a:ext cx="1893" cy="18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492371" y="-766960"/>
            <a:ext cx="189373" cy="189373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432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5" name="Текст 2"/>
          <p:cNvSpPr>
            <a:spLocks noGrp="1"/>
          </p:cNvSpPr>
          <p:nvPr>
            <p:ph type="body" sz="quarter" idx="13"/>
          </p:nvPr>
        </p:nvSpPr>
        <p:spPr>
          <a:xfrm>
            <a:off x="584923" y="760059"/>
            <a:ext cx="11481671" cy="787898"/>
          </a:xfrm>
        </p:spPr>
        <p:txBody>
          <a:bodyPr vert="horz" lIns="91440" tIns="45720" rIns="91440" bIns="45720" rtlCol="0">
            <a:noAutofit/>
          </a:bodyPr>
          <a:lstStyle/>
          <a:p>
            <a:pPr marL="0" indent="0" fontAlgn="ctr">
              <a:buNone/>
            </a:pPr>
            <a:r>
              <a:rPr lang="ru-RU" sz="2000" b="1" dirty="0" smtClean="0">
                <a:latin typeface="PF Centro Sans Pro" panose="02000500000000020004" pitchFamily="50" charset="0"/>
              </a:rPr>
              <a:t>Компетенции по производству </a:t>
            </a:r>
            <a:r>
              <a:rPr lang="ru-RU" sz="2000" b="1" dirty="0" err="1" smtClean="0">
                <a:latin typeface="PF Centro Sans Pro" panose="02000500000000020004" pitchFamily="50" charset="0"/>
              </a:rPr>
              <a:t>ролико</a:t>
            </a:r>
            <a:r>
              <a:rPr lang="ru-RU" sz="2000" b="1" dirty="0" smtClean="0">
                <a:latin typeface="PF Centro Sans Pro" panose="02000500000000020004" pitchFamily="50" charset="0"/>
              </a:rPr>
              <a:t>-винтовых пар </a:t>
            </a:r>
            <a:endParaRPr lang="ru-RU" sz="2000" b="1" dirty="0">
              <a:latin typeface="PF Centro Sans Pro" panose="02000500000000020004" pitchFamily="50" charset="0"/>
            </a:endParaRPr>
          </a:p>
        </p:txBody>
      </p:sp>
      <p:sp>
        <p:nvSpPr>
          <p:cNvPr id="30" name="Rectangle 6"/>
          <p:cNvSpPr/>
          <p:nvPr/>
        </p:nvSpPr>
        <p:spPr>
          <a:xfrm>
            <a:off x="0" y="1711060"/>
            <a:ext cx="12801600" cy="123401"/>
          </a:xfrm>
          <a:prstGeom prst="rect">
            <a:avLst/>
          </a:prstGeom>
          <a:solidFill>
            <a:srgbClr val="5E85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5"/>
          </p:nvPr>
        </p:nvSpPr>
        <p:spPr>
          <a:xfrm>
            <a:off x="11024256" y="8984394"/>
            <a:ext cx="1454022" cy="511175"/>
          </a:xfrm>
        </p:spPr>
        <p:txBody>
          <a:bodyPr/>
          <a:lstStyle/>
          <a:p>
            <a:pPr algn="r"/>
            <a:fld id="{507BA088-F718-4C29-B79D-C60B6090533A}" type="datetime1">
              <a:rPr lang="ru-RU" sz="1600" smtClean="0">
                <a:solidFill>
                  <a:srgbClr val="40C4F4"/>
                </a:solidFill>
                <a:latin typeface="PF Centro Sans Pro" panose="02000500000000020004" pitchFamily="50" charset="0"/>
              </a:rPr>
              <a:t>28.11.2022</a:t>
            </a:fld>
            <a:endParaRPr lang="en-US" sz="1600" dirty="0">
              <a:solidFill>
                <a:srgbClr val="40C4F4"/>
              </a:solidFill>
              <a:latin typeface="PF Centro Sans Pro" panose="02000500000000020004" pitchFamily="50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6447" y="496066"/>
            <a:ext cx="3432048" cy="749808"/>
          </a:xfrm>
          <a:prstGeom prst="rect">
            <a:avLst/>
          </a:prstGeom>
        </p:spPr>
      </p:pic>
      <p:sp>
        <p:nvSpPr>
          <p:cNvPr id="8" name="Нижний колонтитул 7"/>
          <p:cNvSpPr>
            <a:spLocks noGrp="1"/>
          </p:cNvSpPr>
          <p:nvPr>
            <p:ph type="ftr" sz="quarter" idx="16"/>
          </p:nvPr>
        </p:nvSpPr>
        <p:spPr>
          <a:xfrm>
            <a:off x="455032" y="9085668"/>
            <a:ext cx="1826638" cy="382962"/>
          </a:xfrm>
        </p:spPr>
        <p:txBody>
          <a:bodyPr/>
          <a:lstStyle/>
          <a:p>
            <a:pPr algn="l"/>
            <a:r>
              <a:rPr lang="ru-RU" sz="2200" baseline="30000" dirty="0">
                <a:solidFill>
                  <a:srgbClr val="00B0F0"/>
                </a:solidFill>
                <a:latin typeface="PF Centro Sans Pro" panose="02000500000000020004" pitchFamily="50" charset="0"/>
              </a:rPr>
              <a:t>АО "Электропривод"</a:t>
            </a:r>
            <a:endParaRPr lang="en-US" sz="2200" baseline="30000" dirty="0">
              <a:solidFill>
                <a:srgbClr val="00B0F0"/>
              </a:solidFill>
              <a:latin typeface="PF Centro Sans Pro" panose="02000500000000020004" pitchFamily="50" charset="0"/>
            </a:endParaRPr>
          </a:p>
        </p:txBody>
      </p:sp>
      <p:sp>
        <p:nvSpPr>
          <p:cNvPr id="50" name="Rectangle 7"/>
          <p:cNvSpPr>
            <a:spLocks noChangeArrowheads="1"/>
          </p:cNvSpPr>
          <p:nvPr/>
        </p:nvSpPr>
        <p:spPr bwMode="auto">
          <a:xfrm>
            <a:off x="96698" y="3443993"/>
            <a:ext cx="184731" cy="5133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 sz="2736"/>
          </a:p>
        </p:txBody>
      </p:sp>
      <p:sp>
        <p:nvSpPr>
          <p:cNvPr id="2" name="TextBox 1"/>
          <p:cNvSpPr txBox="1"/>
          <p:nvPr/>
        </p:nvSpPr>
        <p:spPr>
          <a:xfrm>
            <a:off x="455032" y="2193821"/>
            <a:ext cx="12000579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800" dirty="0" smtClean="0">
                <a:latin typeface="PF Centro Sans Pro" panose="02000500000000020004" pitchFamily="50" charset="0"/>
              </a:rPr>
              <a:t>На сегодняшний день предприятие выполняет ОКР по разработке электропривода реверсивного устройства ЭРУ-ПД14</a:t>
            </a:r>
            <a:r>
              <a:rPr lang="en-US" sz="1800" dirty="0" smtClean="0">
                <a:latin typeface="PF Centro Sans Pro" panose="02000500000000020004" pitchFamily="50" charset="0"/>
              </a:rPr>
              <a:t> </a:t>
            </a:r>
            <a:r>
              <a:rPr lang="ru-RU" sz="1800" dirty="0">
                <a:latin typeface="PF Centro Sans Pro" panose="02000500000000020004" pitchFamily="50" charset="0"/>
              </a:rPr>
              <a:t>для авиадвигателя </a:t>
            </a:r>
            <a:r>
              <a:rPr lang="ru-RU" sz="1800" dirty="0" smtClean="0">
                <a:latin typeface="PF Centro Sans Pro" panose="02000500000000020004" pitchFamily="50" charset="0"/>
              </a:rPr>
              <a:t>ПД-14.</a:t>
            </a:r>
            <a:r>
              <a:rPr lang="en-US" sz="1800" dirty="0" smtClean="0">
                <a:latin typeface="PF Centro Sans Pro" panose="02000500000000020004" pitchFamily="50" charset="0"/>
              </a:rPr>
              <a:t> </a:t>
            </a:r>
            <a:endParaRPr lang="ru-RU" sz="1800" dirty="0" smtClean="0">
              <a:latin typeface="PF Centro Sans Pro" panose="02000500000000020004" pitchFamily="50" charset="0"/>
            </a:endParaRPr>
          </a:p>
          <a:p>
            <a:pPr algn="just"/>
            <a:r>
              <a:rPr lang="ru-RU" sz="1800" dirty="0" smtClean="0">
                <a:latin typeface="PF Centro Sans Pro" panose="02000500000000020004" pitchFamily="50" charset="0"/>
              </a:rPr>
              <a:t>В состав </a:t>
            </a:r>
            <a:r>
              <a:rPr lang="ru-RU" sz="1800" dirty="0" err="1">
                <a:latin typeface="PF Centro Sans Pro" panose="02000500000000020004" pitchFamily="50" charset="0"/>
              </a:rPr>
              <a:t>электромеханизма</a:t>
            </a:r>
            <a:r>
              <a:rPr lang="ru-RU" sz="1800" dirty="0">
                <a:latin typeface="PF Centro Sans Pro" panose="02000500000000020004" pitchFamily="50" charset="0"/>
              </a:rPr>
              <a:t> МПРУ-ПД14 входит </a:t>
            </a:r>
            <a:r>
              <a:rPr lang="ru-RU" sz="1800" dirty="0" err="1">
                <a:latin typeface="PF Centro Sans Pro" panose="02000500000000020004" pitchFamily="50" charset="0"/>
              </a:rPr>
              <a:t>ролико</a:t>
            </a:r>
            <a:r>
              <a:rPr lang="ru-RU" sz="1800" dirty="0">
                <a:latin typeface="PF Centro Sans Pro" panose="02000500000000020004" pitchFamily="50" charset="0"/>
              </a:rPr>
              <a:t>-винтовая пара (РВП). </a:t>
            </a:r>
          </a:p>
          <a:p>
            <a:pPr algn="just"/>
            <a:r>
              <a:rPr lang="ru-RU" sz="1800" dirty="0">
                <a:latin typeface="PF Centro Sans Pro" panose="02000500000000020004" pitchFamily="50" charset="0"/>
              </a:rPr>
              <a:t>В настоящее время АО «Электропривод» не обладает компетенциями </a:t>
            </a:r>
            <a:r>
              <a:rPr lang="ru-RU" sz="1800" dirty="0" smtClean="0">
                <a:latin typeface="PF Centro Sans Pro" panose="02000500000000020004" pitchFamily="50" charset="0"/>
              </a:rPr>
              <a:t>по производству </a:t>
            </a:r>
            <a:r>
              <a:rPr lang="ru-RU" sz="1800" dirty="0">
                <a:latin typeface="PF Centro Sans Pro" panose="02000500000000020004" pitchFamily="50" charset="0"/>
              </a:rPr>
              <a:t>РВП.</a:t>
            </a:r>
          </a:p>
          <a:p>
            <a:pPr algn="just"/>
            <a:r>
              <a:rPr lang="ru-RU" sz="1800" dirty="0">
                <a:latin typeface="PF Centro Sans Pro" panose="02000500000000020004" pitchFamily="50" charset="0"/>
              </a:rPr>
              <a:t>Опытные образцы РВП  были изготовлены по отдельному договору Владимирским государственным университетом им. А.Г. и Н.Г. Столетовых (далее </a:t>
            </a:r>
            <a:r>
              <a:rPr lang="ru-RU" sz="1800" dirty="0" err="1">
                <a:latin typeface="PF Centro Sans Pro" panose="02000500000000020004" pitchFamily="50" charset="0"/>
              </a:rPr>
              <a:t>ВлГУ</a:t>
            </a:r>
            <a:r>
              <a:rPr lang="ru-RU" sz="1800" dirty="0">
                <a:latin typeface="PF Centro Sans Pro" panose="02000500000000020004" pitchFamily="50" charset="0"/>
              </a:rPr>
              <a:t>). </a:t>
            </a:r>
            <a:r>
              <a:rPr lang="ru-RU" sz="1800" dirty="0" err="1">
                <a:latin typeface="PF Centro Sans Pro" panose="02000500000000020004" pitchFamily="50" charset="0"/>
              </a:rPr>
              <a:t>ВлГУ</a:t>
            </a:r>
            <a:r>
              <a:rPr lang="ru-RU" sz="1800" dirty="0">
                <a:latin typeface="PF Centro Sans Pro" panose="02000500000000020004" pitchFamily="50" charset="0"/>
              </a:rPr>
              <a:t> не обеспечил требуемые сроки окончания разработки РКД и изготовления опытных образцов РВП.</a:t>
            </a:r>
          </a:p>
          <a:p>
            <a:pPr algn="just"/>
            <a:r>
              <a:rPr lang="ru-RU" sz="1800" dirty="0">
                <a:latin typeface="PF Centro Sans Pro" panose="02000500000000020004" pitchFamily="50" charset="0"/>
              </a:rPr>
              <a:t>Аудит поставщика показал, что </a:t>
            </a:r>
            <a:r>
              <a:rPr lang="ru-RU" sz="1800" dirty="0" err="1">
                <a:latin typeface="PF Centro Sans Pro" panose="02000500000000020004" pitchFamily="50" charset="0"/>
              </a:rPr>
              <a:t>ВлГУ</a:t>
            </a:r>
            <a:r>
              <a:rPr lang="ru-RU" sz="1800" dirty="0">
                <a:latin typeface="PF Centro Sans Pro" panose="02000500000000020004" pitchFamily="50" charset="0"/>
              </a:rPr>
              <a:t> не имеет достаточной производственной базы для обеспечения серийного производства РВП. </a:t>
            </a:r>
          </a:p>
          <a:p>
            <a:pPr algn="just"/>
            <a:endParaRPr lang="ru-RU" sz="1800" dirty="0">
              <a:latin typeface="PF Centro Sans Pro" panose="02000500000000020004" pitchFamily="50" charset="0"/>
            </a:endParaRPr>
          </a:p>
          <a:p>
            <a:pPr algn="just"/>
            <a:r>
              <a:rPr lang="ru-RU" sz="1800" dirty="0">
                <a:latin typeface="PF Centro Sans Pro" panose="02000500000000020004" pitchFamily="50" charset="0"/>
              </a:rPr>
              <a:t>Альтернативными серийными поставщиками РВП могут рассматриваться: </a:t>
            </a:r>
          </a:p>
          <a:p>
            <a:pPr marL="342900" indent="-342900" algn="just">
              <a:buAutoNum type="arabicPeriod"/>
            </a:pPr>
            <a:r>
              <a:rPr lang="ru-RU" sz="1800" dirty="0">
                <a:latin typeface="PF Centro Sans Pro" panose="02000500000000020004" pitchFamily="50" charset="0"/>
              </a:rPr>
              <a:t>ООО «</a:t>
            </a:r>
            <a:r>
              <a:rPr lang="ru-RU" sz="1800" dirty="0" err="1">
                <a:latin typeface="PF Centro Sans Pro" panose="02000500000000020004" pitchFamily="50" charset="0"/>
              </a:rPr>
              <a:t>Диаконт</a:t>
            </a:r>
            <a:r>
              <a:rPr lang="ru-RU" sz="1800" dirty="0">
                <a:latin typeface="PF Centro Sans Pro" panose="02000500000000020004" pitchFamily="50" charset="0"/>
              </a:rPr>
              <a:t>» (г. Санкт Петербург) - прямой конкурент АО «Электропривод» по разработке системы ЭРУ-ПД14;</a:t>
            </a:r>
          </a:p>
          <a:p>
            <a:pPr algn="just"/>
            <a:r>
              <a:rPr lang="ru-RU" sz="1800" dirty="0">
                <a:latin typeface="PF Centro Sans Pro" panose="02000500000000020004" pitchFamily="50" charset="0"/>
              </a:rPr>
              <a:t>Отрицательные </a:t>
            </a:r>
          </a:p>
          <a:p>
            <a:pPr algn="just"/>
            <a:r>
              <a:rPr lang="ru-RU" sz="1800" dirty="0">
                <a:latin typeface="PF Centro Sans Pro" panose="02000500000000020004" pitchFamily="50" charset="0"/>
              </a:rPr>
              <a:t>2. АО «</a:t>
            </a:r>
            <a:r>
              <a:rPr lang="ru-RU" sz="1800" dirty="0" err="1">
                <a:latin typeface="PF Centro Sans Pro" panose="02000500000000020004" pitchFamily="50" charset="0"/>
              </a:rPr>
              <a:t>Лепсе</a:t>
            </a:r>
            <a:r>
              <a:rPr lang="ru-RU" sz="1800" dirty="0" smtClean="0">
                <a:latin typeface="PF Centro Sans Pro" panose="02000500000000020004" pitchFamily="50" charset="0"/>
              </a:rPr>
              <a:t>» (г. Киров) - не может </a:t>
            </a:r>
            <a:r>
              <a:rPr lang="ru-RU" sz="1800" dirty="0">
                <a:latin typeface="PF Centro Sans Pro" panose="02000500000000020004" pitchFamily="50" charset="0"/>
              </a:rPr>
              <a:t>изготавливать </a:t>
            </a:r>
            <a:r>
              <a:rPr lang="ru-RU" sz="1800" dirty="0" smtClean="0">
                <a:latin typeface="PF Centro Sans Pro" panose="02000500000000020004" pitchFamily="50" charset="0"/>
              </a:rPr>
              <a:t>РВП </a:t>
            </a:r>
            <a:r>
              <a:rPr lang="ru-RU" sz="1800" dirty="0">
                <a:latin typeface="PF Centro Sans Pro" panose="02000500000000020004" pitchFamily="50" charset="0"/>
              </a:rPr>
              <a:t>в заданных количествах, в связи с собственной загрузкой.</a:t>
            </a:r>
          </a:p>
          <a:p>
            <a:pPr algn="just"/>
            <a:r>
              <a:rPr lang="ru-RU" sz="1800" dirty="0">
                <a:latin typeface="PF Centro Sans Pro" panose="02000500000000020004" pitchFamily="50" charset="0"/>
              </a:rPr>
              <a:t>3. ООО </a:t>
            </a:r>
            <a:r>
              <a:rPr lang="en-US" sz="1800" dirty="0">
                <a:latin typeface="PF Centro Sans Pro" panose="02000500000000020004" pitchFamily="50" charset="0"/>
              </a:rPr>
              <a:t>“</a:t>
            </a:r>
            <a:r>
              <a:rPr lang="ru-RU" sz="1800" dirty="0">
                <a:latin typeface="PF Centro Sans Pro" panose="02000500000000020004" pitchFamily="50" charset="0"/>
              </a:rPr>
              <a:t>АПКБ</a:t>
            </a:r>
            <a:r>
              <a:rPr lang="en-US" sz="1800" dirty="0" smtClean="0">
                <a:latin typeface="PF Centro Sans Pro" panose="02000500000000020004" pitchFamily="50" charset="0"/>
              </a:rPr>
              <a:t>”</a:t>
            </a:r>
            <a:r>
              <a:rPr lang="ru-RU" sz="1800" dirty="0" smtClean="0">
                <a:latin typeface="PF Centro Sans Pro" panose="02000500000000020004" pitchFamily="50" charset="0"/>
              </a:rPr>
              <a:t> (г. Арзамас) - </a:t>
            </a:r>
            <a:r>
              <a:rPr lang="ru-RU" sz="1800" dirty="0">
                <a:latin typeface="PF Centro Sans Pro" panose="02000500000000020004" pitchFamily="50" charset="0"/>
              </a:rPr>
              <a:t>не </a:t>
            </a:r>
            <a:r>
              <a:rPr lang="ru-RU" sz="1800" dirty="0" smtClean="0">
                <a:latin typeface="PF Centro Sans Pro" panose="02000500000000020004" pitchFamily="50" charset="0"/>
              </a:rPr>
              <a:t>может </a:t>
            </a:r>
            <a:r>
              <a:rPr lang="ru-RU" sz="1800" dirty="0">
                <a:latin typeface="PF Centro Sans Pro" panose="02000500000000020004" pitchFamily="50" charset="0"/>
              </a:rPr>
              <a:t>изготавливать данные РВП в заданных количествах, в связи с собственной загрузкой.</a:t>
            </a:r>
          </a:p>
          <a:p>
            <a:pPr algn="just"/>
            <a:endParaRPr lang="ru-RU" sz="1800" dirty="0">
              <a:latin typeface="PF Centro Sans Pro" panose="02000500000000020004" pitchFamily="50" charset="0"/>
            </a:endParaRPr>
          </a:p>
          <a:p>
            <a:pPr algn="just"/>
            <a:r>
              <a:rPr lang="ru-RU" sz="1800" dirty="0">
                <a:latin typeface="PF Centro Sans Pro" panose="02000500000000020004" pitchFamily="50" charset="0"/>
              </a:rPr>
              <a:t>Для серийного изготовления электропривода ЭРУ-ПД14 в требуемых объемах АО </a:t>
            </a:r>
            <a:r>
              <a:rPr lang="en-US" sz="1800" dirty="0">
                <a:latin typeface="PF Centro Sans Pro" panose="02000500000000020004" pitchFamily="50" charset="0"/>
              </a:rPr>
              <a:t>“</a:t>
            </a:r>
            <a:r>
              <a:rPr lang="ru-RU" sz="1800" dirty="0">
                <a:latin typeface="PF Centro Sans Pro" panose="02000500000000020004" pitchFamily="50" charset="0"/>
              </a:rPr>
              <a:t>Электропривод</a:t>
            </a:r>
            <a:r>
              <a:rPr lang="en-US" sz="1800" dirty="0">
                <a:latin typeface="PF Centro Sans Pro" panose="02000500000000020004" pitchFamily="50" charset="0"/>
              </a:rPr>
              <a:t>”</a:t>
            </a:r>
            <a:r>
              <a:rPr lang="ru-RU" sz="1800" dirty="0">
                <a:latin typeface="PF Centro Sans Pro" panose="02000500000000020004" pitchFamily="50" charset="0"/>
              </a:rPr>
              <a:t> потребуется приобретение дополнительного оборудования</a:t>
            </a:r>
            <a:r>
              <a:rPr lang="ru-RU" sz="1800" dirty="0" smtClean="0">
                <a:latin typeface="PF Centro Sans Pro" panose="02000500000000020004" pitchFamily="50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543955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94268" y="-765063"/>
          <a:ext cx="1893" cy="18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86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494268" y="-765063"/>
                        <a:ext cx="1893" cy="18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492371" y="-766960"/>
            <a:ext cx="189373" cy="189373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432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5" name="Текст 2"/>
          <p:cNvSpPr>
            <a:spLocks noGrp="1"/>
          </p:cNvSpPr>
          <p:nvPr>
            <p:ph type="body" sz="quarter" idx="13"/>
          </p:nvPr>
        </p:nvSpPr>
        <p:spPr>
          <a:xfrm>
            <a:off x="454122" y="564987"/>
            <a:ext cx="11481671" cy="787898"/>
          </a:xfrm>
        </p:spPr>
        <p:txBody>
          <a:bodyPr vert="horz" lIns="91440" tIns="45720" rIns="91440" bIns="45720" rtlCol="0">
            <a:noAutofit/>
          </a:bodyPr>
          <a:lstStyle/>
          <a:p>
            <a:pPr marL="0" indent="0" fontAlgn="ctr">
              <a:buNone/>
            </a:pPr>
            <a:r>
              <a:rPr lang="ru-RU" sz="2000" b="1" dirty="0">
                <a:latin typeface="PF Centro Sans Pro" panose="02000500000000020004" pitchFamily="50" charset="0"/>
              </a:rPr>
              <a:t>Перечень </a:t>
            </a:r>
            <a:r>
              <a:rPr lang="ru-RU" sz="2000" b="1" dirty="0" smtClean="0">
                <a:latin typeface="PF Centro Sans Pro" panose="02000500000000020004" pitchFamily="50" charset="0"/>
              </a:rPr>
              <a:t>испытательного оборудования </a:t>
            </a:r>
            <a:r>
              <a:rPr lang="ru-RU" sz="2000" b="1" dirty="0">
                <a:latin typeface="PF Centro Sans Pro" panose="02000500000000020004" pitchFamily="50" charset="0"/>
              </a:rPr>
              <a:t>для замены </a:t>
            </a:r>
            <a:endParaRPr lang="ru-RU" sz="2000" b="1" dirty="0" smtClean="0">
              <a:latin typeface="PF Centro Sans Pro" panose="02000500000000020004" pitchFamily="50" charset="0"/>
            </a:endParaRPr>
          </a:p>
          <a:p>
            <a:pPr marL="0" indent="0" fontAlgn="ctr">
              <a:buNone/>
            </a:pPr>
            <a:r>
              <a:rPr lang="ru-RU" sz="2000" b="1" dirty="0" smtClean="0">
                <a:latin typeface="PF Centro Sans Pro" panose="02000500000000020004" pitchFamily="50" charset="0"/>
              </a:rPr>
              <a:t>устаревшей испытательной базы</a:t>
            </a:r>
            <a:endParaRPr lang="ru-RU" sz="2000" b="1" dirty="0">
              <a:latin typeface="PF Centro Sans Pro" panose="02000500000000020004" pitchFamily="50" charset="0"/>
            </a:endParaRPr>
          </a:p>
        </p:txBody>
      </p:sp>
      <p:sp>
        <p:nvSpPr>
          <p:cNvPr id="30" name="Rectangle 6"/>
          <p:cNvSpPr/>
          <p:nvPr/>
        </p:nvSpPr>
        <p:spPr>
          <a:xfrm>
            <a:off x="0" y="1711060"/>
            <a:ext cx="12801600" cy="123401"/>
          </a:xfrm>
          <a:prstGeom prst="rect">
            <a:avLst/>
          </a:prstGeom>
          <a:solidFill>
            <a:srgbClr val="5E85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5"/>
          </p:nvPr>
        </p:nvSpPr>
        <p:spPr>
          <a:xfrm>
            <a:off x="11024256" y="8984394"/>
            <a:ext cx="1454022" cy="511175"/>
          </a:xfrm>
        </p:spPr>
        <p:txBody>
          <a:bodyPr/>
          <a:lstStyle/>
          <a:p>
            <a:pPr algn="r"/>
            <a:fld id="{507BA088-F718-4C29-B79D-C60B6090533A}" type="datetime1">
              <a:rPr lang="ru-RU" sz="1600" smtClean="0">
                <a:solidFill>
                  <a:srgbClr val="40C4F4"/>
                </a:solidFill>
                <a:latin typeface="PF Centro Sans Pro" panose="02000500000000020004" pitchFamily="50" charset="0"/>
              </a:rPr>
              <a:t>28.11.2022</a:t>
            </a:fld>
            <a:endParaRPr lang="en-US" sz="1600" dirty="0">
              <a:solidFill>
                <a:srgbClr val="40C4F4"/>
              </a:solidFill>
              <a:latin typeface="PF Centro Sans Pro" panose="02000500000000020004" pitchFamily="50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6447" y="496066"/>
            <a:ext cx="3432048" cy="749808"/>
          </a:xfrm>
          <a:prstGeom prst="rect">
            <a:avLst/>
          </a:prstGeom>
        </p:spPr>
      </p:pic>
      <p:sp>
        <p:nvSpPr>
          <p:cNvPr id="8" name="Нижний колонтитул 7"/>
          <p:cNvSpPr>
            <a:spLocks noGrp="1"/>
          </p:cNvSpPr>
          <p:nvPr>
            <p:ph type="ftr" sz="quarter" idx="16"/>
          </p:nvPr>
        </p:nvSpPr>
        <p:spPr>
          <a:xfrm>
            <a:off x="455032" y="9085668"/>
            <a:ext cx="1826638" cy="382962"/>
          </a:xfrm>
        </p:spPr>
        <p:txBody>
          <a:bodyPr/>
          <a:lstStyle/>
          <a:p>
            <a:pPr algn="l"/>
            <a:r>
              <a:rPr lang="ru-RU" sz="2200" baseline="30000" dirty="0">
                <a:solidFill>
                  <a:srgbClr val="00B0F0"/>
                </a:solidFill>
                <a:latin typeface="PF Centro Sans Pro" panose="02000500000000020004" pitchFamily="50" charset="0"/>
              </a:rPr>
              <a:t>АО "Электропривод"</a:t>
            </a:r>
            <a:endParaRPr lang="en-US" sz="2200" baseline="30000" dirty="0">
              <a:solidFill>
                <a:srgbClr val="00B0F0"/>
              </a:solidFill>
              <a:latin typeface="PF Centro Sans Pro" panose="02000500000000020004" pitchFamily="50" charset="0"/>
            </a:endParaRPr>
          </a:p>
        </p:txBody>
      </p:sp>
      <p:sp>
        <p:nvSpPr>
          <p:cNvPr id="50" name="Rectangle 7"/>
          <p:cNvSpPr>
            <a:spLocks noChangeArrowheads="1"/>
          </p:cNvSpPr>
          <p:nvPr/>
        </p:nvSpPr>
        <p:spPr bwMode="auto">
          <a:xfrm>
            <a:off x="96698" y="3443993"/>
            <a:ext cx="184731" cy="5133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 sz="2736"/>
          </a:p>
        </p:txBody>
      </p:sp>
      <p:sp>
        <p:nvSpPr>
          <p:cNvPr id="2" name="TextBox 1"/>
          <p:cNvSpPr txBox="1"/>
          <p:nvPr/>
        </p:nvSpPr>
        <p:spPr>
          <a:xfrm>
            <a:off x="325140" y="1834461"/>
            <a:ext cx="1189335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600" dirty="0">
                <a:latin typeface="PF Centro Sans Pro" panose="02000500000000020004" pitchFamily="50" charset="0"/>
              </a:rPr>
              <a:t>Принимая во внимание значительный износ и возраст </a:t>
            </a:r>
            <a:r>
              <a:rPr lang="ru-RU" sz="1600" dirty="0" smtClean="0">
                <a:latin typeface="PF Centro Sans Pro" panose="02000500000000020004" pitchFamily="50" charset="0"/>
              </a:rPr>
              <a:t>испытательного оборудования</a:t>
            </a:r>
            <a:r>
              <a:rPr lang="ru-RU" sz="1600" dirty="0">
                <a:latin typeface="PF Centro Sans Pro" panose="02000500000000020004" pitchFamily="50" charset="0"/>
              </a:rPr>
              <a:t>, для </a:t>
            </a:r>
            <a:r>
              <a:rPr lang="ru-RU" sz="1600" dirty="0" smtClean="0">
                <a:latin typeface="PF Centro Sans Pro" panose="02000500000000020004" pitchFamily="50" charset="0"/>
              </a:rPr>
              <a:t>стабильной сдачи продукции при проведения </a:t>
            </a:r>
            <a:r>
              <a:rPr lang="ru-RU" sz="1600" dirty="0">
                <a:latin typeface="PF Centro Sans Pro" panose="02000500000000020004" pitchFamily="50" charset="0"/>
              </a:rPr>
              <a:t>приемочных, приемо-сдаточных и </a:t>
            </a:r>
            <a:r>
              <a:rPr lang="ru-RU" sz="1600" dirty="0" err="1">
                <a:latin typeface="PF Centro Sans Pro" panose="02000500000000020004" pitchFamily="50" charset="0"/>
              </a:rPr>
              <a:t>переодических</a:t>
            </a:r>
            <a:r>
              <a:rPr lang="ru-RU" sz="1600" dirty="0">
                <a:latin typeface="PF Centro Sans Pro" panose="02000500000000020004" pitchFamily="50" charset="0"/>
              </a:rPr>
              <a:t> контрольных испытаний на предприятии требуется замена устаревшего </a:t>
            </a:r>
            <a:r>
              <a:rPr lang="ru-RU" sz="1600" dirty="0" smtClean="0">
                <a:latin typeface="PF Centro Sans Pro" panose="02000500000000020004" pitchFamily="50" charset="0"/>
              </a:rPr>
              <a:t>испытательного оборудования, а также необходимо </a:t>
            </a:r>
            <a:r>
              <a:rPr lang="ru-RU" sz="1600" dirty="0">
                <a:latin typeface="PF Centro Sans Pro" panose="02000500000000020004" pitchFamily="50" charset="0"/>
              </a:rPr>
              <a:t>дооснащение </a:t>
            </a:r>
            <a:r>
              <a:rPr lang="ru-RU" sz="1600" dirty="0" smtClean="0">
                <a:latin typeface="PF Centro Sans Pro" panose="02000500000000020004" pitchFamily="50" charset="0"/>
              </a:rPr>
              <a:t>новым испытательным оборудованием </a:t>
            </a:r>
            <a:r>
              <a:rPr lang="ru-RU" sz="1600" dirty="0">
                <a:latin typeface="PF Centro Sans Pro" panose="02000500000000020004" pitchFamily="50" charset="0"/>
              </a:rPr>
              <a:t>и </a:t>
            </a:r>
            <a:r>
              <a:rPr lang="ru-RU" sz="1600" dirty="0" smtClean="0">
                <a:latin typeface="PF Centro Sans Pro" panose="02000500000000020004" pitchFamily="50" charset="0"/>
              </a:rPr>
              <a:t>дополнительной лабораторной оснасткой.</a:t>
            </a: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8106768"/>
              </p:ext>
            </p:extLst>
          </p:nvPr>
        </p:nvGraphicFramePr>
        <p:xfrm>
          <a:off x="325140" y="2927104"/>
          <a:ext cx="12076631" cy="6295047"/>
        </p:xfrm>
        <a:graphic>
          <a:graphicData uri="http://schemas.openxmlformats.org/drawingml/2006/table">
            <a:tbl>
              <a:tblPr>
                <a:tableStyleId>{22838BEF-8BB2-4498-84A7-C5851F593DF1}</a:tableStyleId>
              </a:tblPr>
              <a:tblGrid>
                <a:gridCol w="7599660"/>
                <a:gridCol w="2399994"/>
                <a:gridCol w="2076977"/>
              </a:tblGrid>
              <a:tr h="59557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chemeClr val="bg1"/>
                          </a:solidFill>
                          <a:effectLst/>
                          <a:latin typeface="PF Centro Sans Pro" panose="02000500000000020004" pitchFamily="50" charset="0"/>
                        </a:rPr>
                        <a:t>Наименование оборудования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9525" marR="9525" marT="9525" marB="0" anchor="ctr">
                    <a:solidFill>
                      <a:srgbClr val="5E85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chemeClr val="bg1"/>
                          </a:solidFill>
                          <a:effectLst/>
                          <a:latin typeface="PF Centro Sans Pro" panose="02000500000000020004" pitchFamily="50" charset="0"/>
                        </a:rPr>
                        <a:t>Потребное кол. (шт.)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9525" marR="9525" marT="9525" marB="0" anchor="ctr">
                    <a:solidFill>
                      <a:srgbClr val="5E85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u="none" strike="noStrike" dirty="0">
                          <a:solidFill>
                            <a:schemeClr val="bg1"/>
                          </a:solidFill>
                          <a:effectLst/>
                          <a:latin typeface="PF Centro Sans Pro" panose="02000500000000020004" pitchFamily="50" charset="0"/>
                        </a:rPr>
                        <a:t>Стоимость закупки за единицу оборудования (</a:t>
                      </a:r>
                      <a:r>
                        <a:rPr lang="ru-RU" sz="1200" b="1" u="none" strike="noStrike" dirty="0" err="1">
                          <a:solidFill>
                            <a:schemeClr val="bg1"/>
                          </a:solidFill>
                          <a:effectLst/>
                          <a:latin typeface="PF Centro Sans Pro" panose="02000500000000020004" pitchFamily="50" charset="0"/>
                        </a:rPr>
                        <a:t>млн.руб</a:t>
                      </a:r>
                      <a:r>
                        <a:rPr lang="ru-RU" sz="1200" b="1" u="none" strike="noStrike" dirty="0">
                          <a:solidFill>
                            <a:schemeClr val="bg1"/>
                          </a:solidFill>
                          <a:effectLst/>
                          <a:latin typeface="PF Centro Sans Pro" panose="02000500000000020004" pitchFamily="50" charset="0"/>
                        </a:rPr>
                        <a:t>.)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9525" marR="9525" marT="9525" marB="0" anchor="b">
                    <a:solidFill>
                      <a:srgbClr val="5E85C4"/>
                    </a:solidFill>
                  </a:tcPr>
                </a:tc>
              </a:tr>
              <a:tr h="2841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естер </a:t>
                      </a:r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Formula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TT (аналоговые элементы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          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, 67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2841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естер Formula 2K  (цифровые микросхемы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        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, 2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23982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пция ТТ Формула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          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, 5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21505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борудование для испытаний на ЭМС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        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8, 75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21569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Источник переменного тока 200 В 400Гц статический VFP‐T 3303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          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, 846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2841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Источник переменного тока статический 200В 400Гц Jinan ACME Power Suppl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          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, 394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2841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амера влажности и тепла и пониженного давления REOCAM TCH-1500,  1,5 м3 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        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9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2841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амера дождя 1м3 КД-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          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, 5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2841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амера быстрого изменения температуры  REOCAM TC-1000-P4W, 1м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        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2, 4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2841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становка на взрывобезопасность (собственного изготовления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        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2841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одернизация 3-х камер:  КРК-630 №216,КРК-630 №115, КТБВ-8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         12 </a:t>
                      </a:r>
                    </a:p>
                  </a:txBody>
                  <a:tcPr marL="9525" marR="9525" marT="9525" marB="0" anchor="ctr"/>
                </a:tc>
              </a:tr>
              <a:tr h="31250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Винтовой компрессор ABAC GENESIS I.22 13  6-13 бар/500л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          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, 25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2841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Шумопоглощающие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экраны мобильные (для </a:t>
                      </a:r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ашзала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)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             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55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2841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Воздуходувка HRD 7 FU 105/20 + частотный преобразователь (для вибростенда Тира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             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9 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2841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Аквадистиллятор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             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1   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15768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Чиллер для охл каме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          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2841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теллажи закрытые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          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34411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ран консольный на 300кг (в бокс вибростендов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             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4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2794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омлект нагрузочных устройств для стендов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          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,5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1524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омплект линейных приводов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SewEuroDrive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        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152400">
                <a:tc>
                  <a:txBody>
                    <a:bodyPr/>
                    <a:lstStyle/>
                    <a:p>
                      <a:pPr algn="l" fontAlgn="ctr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ИТОГО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      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7, 960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5285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 smtClean="0"/>
              <a:t>Планировка размещения оборудования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F339ED8-159E-4E1F-BA65-40F83343A4C2}" type="datetime1">
              <a:rPr lang="ru-RU" smtClean="0"/>
              <a:t>28.11.2022</a:t>
            </a:fld>
            <a:endParaRPr lang="en-US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ru-RU" smtClean="0"/>
              <a:t>АО "Электропривод"</a:t>
            </a:r>
            <a:endParaRPr lang="en-US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69167"/>
            <a:ext cx="12801600" cy="8462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978767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94268" y="-765063"/>
          <a:ext cx="1893" cy="18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192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494268" y="-765063"/>
                        <a:ext cx="1893" cy="18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492371" y="-766960"/>
            <a:ext cx="189373" cy="189373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432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5" name="Текст 2"/>
          <p:cNvSpPr>
            <a:spLocks noGrp="1"/>
          </p:cNvSpPr>
          <p:nvPr>
            <p:ph type="body" sz="quarter" idx="13"/>
          </p:nvPr>
        </p:nvSpPr>
        <p:spPr>
          <a:xfrm>
            <a:off x="374095" y="496066"/>
            <a:ext cx="11481671" cy="976749"/>
          </a:xfrm>
        </p:spPr>
        <p:txBody>
          <a:bodyPr vert="horz" lIns="91440" tIns="45720" rIns="91440" bIns="45720" rtlCol="0">
            <a:noAutofit/>
          </a:bodyPr>
          <a:lstStyle/>
          <a:p>
            <a:pPr marL="0" indent="0">
              <a:buNone/>
            </a:pPr>
            <a:r>
              <a:rPr lang="ru-RU" sz="2000" b="1" noProof="1" smtClean="0">
                <a:latin typeface="PF Centro Sans Pro" panose="02000500000000020004" pitchFamily="50" charset="0"/>
              </a:rPr>
              <a:t>Реорганизация </a:t>
            </a:r>
            <a:r>
              <a:rPr lang="ru-RU" sz="2000" b="1" dirty="0" smtClean="0">
                <a:latin typeface="PF Centro Sans Pro" panose="02000500000000020004" pitchFamily="50" charset="0"/>
              </a:rPr>
              <a:t>производственных мощностей.</a:t>
            </a:r>
          </a:p>
        </p:txBody>
      </p:sp>
      <p:sp>
        <p:nvSpPr>
          <p:cNvPr id="30" name="Rectangle 6"/>
          <p:cNvSpPr/>
          <p:nvPr/>
        </p:nvSpPr>
        <p:spPr>
          <a:xfrm>
            <a:off x="0" y="1711060"/>
            <a:ext cx="12801600" cy="123401"/>
          </a:xfrm>
          <a:prstGeom prst="rect">
            <a:avLst/>
          </a:prstGeom>
          <a:solidFill>
            <a:srgbClr val="5E85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5"/>
          </p:nvPr>
        </p:nvSpPr>
        <p:spPr>
          <a:xfrm>
            <a:off x="11024256" y="8984394"/>
            <a:ext cx="1454022" cy="511175"/>
          </a:xfrm>
        </p:spPr>
        <p:txBody>
          <a:bodyPr/>
          <a:lstStyle/>
          <a:p>
            <a:pPr algn="r"/>
            <a:fld id="{507BA088-F718-4C29-B79D-C60B6090533A}" type="datetime1">
              <a:rPr lang="ru-RU" sz="1600" smtClean="0">
                <a:solidFill>
                  <a:srgbClr val="40C4F4"/>
                </a:solidFill>
                <a:latin typeface="PF Centro Sans Pro" panose="02000500000000020004" pitchFamily="50" charset="0"/>
              </a:rPr>
              <a:t>28.11.2022</a:t>
            </a:fld>
            <a:endParaRPr lang="en-US" sz="1600" dirty="0">
              <a:solidFill>
                <a:srgbClr val="40C4F4"/>
              </a:solidFill>
              <a:latin typeface="PF Centro Sans Pro" panose="02000500000000020004" pitchFamily="50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6447" y="496066"/>
            <a:ext cx="3432048" cy="749808"/>
          </a:xfrm>
          <a:prstGeom prst="rect">
            <a:avLst/>
          </a:prstGeom>
        </p:spPr>
      </p:pic>
      <p:sp>
        <p:nvSpPr>
          <p:cNvPr id="8" name="Нижний колонтитул 7"/>
          <p:cNvSpPr>
            <a:spLocks noGrp="1"/>
          </p:cNvSpPr>
          <p:nvPr>
            <p:ph type="ftr" sz="quarter" idx="16"/>
          </p:nvPr>
        </p:nvSpPr>
        <p:spPr>
          <a:xfrm>
            <a:off x="455032" y="9085668"/>
            <a:ext cx="1826638" cy="382962"/>
          </a:xfrm>
        </p:spPr>
        <p:txBody>
          <a:bodyPr/>
          <a:lstStyle/>
          <a:p>
            <a:pPr algn="l"/>
            <a:r>
              <a:rPr lang="ru-RU" sz="2200" baseline="30000" dirty="0">
                <a:solidFill>
                  <a:srgbClr val="00B0F0"/>
                </a:solidFill>
                <a:latin typeface="PF Centro Sans Pro" panose="02000500000000020004" pitchFamily="50" charset="0"/>
              </a:rPr>
              <a:t>АО "Электропривод"</a:t>
            </a:r>
            <a:endParaRPr lang="en-US" sz="2200" baseline="30000" dirty="0">
              <a:solidFill>
                <a:srgbClr val="00B0F0"/>
              </a:solidFill>
              <a:latin typeface="PF Centro Sans Pro" panose="02000500000000020004" pitchFamily="50" charset="0"/>
            </a:endParaRPr>
          </a:p>
        </p:txBody>
      </p:sp>
      <p:sp>
        <p:nvSpPr>
          <p:cNvPr id="50" name="Rectangle 7"/>
          <p:cNvSpPr>
            <a:spLocks noChangeArrowheads="1"/>
          </p:cNvSpPr>
          <p:nvPr/>
        </p:nvSpPr>
        <p:spPr bwMode="auto">
          <a:xfrm>
            <a:off x="96698" y="3443993"/>
            <a:ext cx="184731" cy="5133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 sz="2736"/>
          </a:p>
        </p:txBody>
      </p:sp>
      <p:sp>
        <p:nvSpPr>
          <p:cNvPr id="3" name="Прямоугольник 2"/>
          <p:cNvSpPr/>
          <p:nvPr/>
        </p:nvSpPr>
        <p:spPr>
          <a:xfrm>
            <a:off x="281429" y="2199610"/>
            <a:ext cx="12023246" cy="72534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700"/>
              </a:spcAft>
            </a:pPr>
            <a:r>
              <a:rPr lang="ru-RU" sz="1800" dirty="0">
                <a:latin typeface="PF Centro Sans Pro" panose="02000500000000020004" pitchFamily="50" charset="0"/>
              </a:rPr>
              <a:t>Для размещения </a:t>
            </a:r>
            <a:r>
              <a:rPr lang="ru-RU" sz="1800" dirty="0" smtClean="0">
                <a:latin typeface="PF Centro Sans Pro" panose="02000500000000020004" pitchFamily="50" charset="0"/>
              </a:rPr>
              <a:t>технологического </a:t>
            </a:r>
            <a:r>
              <a:rPr lang="ru-RU" sz="1800" dirty="0">
                <a:latin typeface="PF Centro Sans Pro" panose="02000500000000020004" pitchFamily="50" charset="0"/>
              </a:rPr>
              <a:t>и испытательного оборудования, а также офисных помещений для размещения дополнительного персонала </a:t>
            </a:r>
            <a:r>
              <a:rPr lang="ru-RU" sz="1800" dirty="0" smtClean="0">
                <a:latin typeface="PF Centro Sans Pro" panose="02000500000000020004" pitchFamily="50" charset="0"/>
              </a:rPr>
              <a:t>необходимо выполнить перепланировку </a:t>
            </a:r>
            <a:r>
              <a:rPr lang="ru-RU" sz="1800" dirty="0">
                <a:latin typeface="PF Centro Sans Pro" panose="02000500000000020004" pitchFamily="50" charset="0"/>
              </a:rPr>
              <a:t>«машинного зала» и зала по испытаниям по ВВФ на предприятии, а также </a:t>
            </a:r>
            <a:r>
              <a:rPr lang="ru-RU" sz="1800" dirty="0" smtClean="0">
                <a:latin typeface="PF Centro Sans Pro" panose="02000500000000020004" pitchFamily="50" charset="0"/>
              </a:rPr>
              <a:t>дополнительной оптимизации размещения сотрудников в административном корпусе предприятия.</a:t>
            </a:r>
            <a:endParaRPr lang="ru-RU" sz="1800" dirty="0">
              <a:latin typeface="PF Centro Sans Pro" panose="02000500000000020004" pitchFamily="50" charset="0"/>
            </a:endParaRPr>
          </a:p>
          <a:p>
            <a:pPr algn="just"/>
            <a:r>
              <a:rPr lang="ru-RU" sz="1800" dirty="0">
                <a:latin typeface="PF Centro Sans Pro" panose="02000500000000020004" pitchFamily="50" charset="0"/>
              </a:rPr>
              <a:t>По предварительной оценке для </a:t>
            </a:r>
            <a:r>
              <a:rPr lang="ru-RU" sz="1800" dirty="0" smtClean="0">
                <a:latin typeface="PF Centro Sans Pro" panose="02000500000000020004" pitchFamily="50" charset="0"/>
              </a:rPr>
              <a:t>работ </a:t>
            </a:r>
            <a:r>
              <a:rPr lang="ru-RU" sz="1800" dirty="0">
                <a:latin typeface="PF Centro Sans Pro" panose="02000500000000020004" pitchFamily="50" charset="0"/>
              </a:rPr>
              <a:t>по перепланировке «машинного зала» и зала по испытаниям на </a:t>
            </a:r>
            <a:r>
              <a:rPr lang="ru-RU" sz="1800" dirty="0" smtClean="0">
                <a:latin typeface="PF Centro Sans Pro" panose="02000500000000020004" pitchFamily="50" charset="0"/>
              </a:rPr>
              <a:t>ВВФ, потребуется 68</a:t>
            </a:r>
            <a:r>
              <a:rPr lang="ru-RU" sz="1800" b="1" dirty="0" smtClean="0">
                <a:latin typeface="PF Centro Sans Pro" panose="02000500000000020004" pitchFamily="50" charset="0"/>
              </a:rPr>
              <a:t>,615</a:t>
            </a:r>
            <a:r>
              <a:rPr lang="ru-RU" sz="1800" dirty="0" smtClean="0">
                <a:latin typeface="PF Centro Sans Pro" panose="02000500000000020004" pitchFamily="50" charset="0"/>
              </a:rPr>
              <a:t> </a:t>
            </a:r>
            <a:r>
              <a:rPr lang="ru-RU" sz="1800" dirty="0">
                <a:latin typeface="PF Centro Sans Pro" panose="02000500000000020004" pitchFamily="50" charset="0"/>
              </a:rPr>
              <a:t>млн. руб</a:t>
            </a:r>
            <a:r>
              <a:rPr lang="ru-RU" sz="1800" dirty="0" smtClean="0">
                <a:latin typeface="PF Centro Sans Pro" panose="02000500000000020004" pitchFamily="50" charset="0"/>
              </a:rPr>
              <a:t>.</a:t>
            </a:r>
          </a:p>
          <a:p>
            <a:pPr algn="just"/>
            <a:endParaRPr lang="ru-RU" sz="1800" dirty="0">
              <a:latin typeface="PF Centro Sans Pro" panose="02000500000000020004" pitchFamily="50" charset="0"/>
            </a:endParaRPr>
          </a:p>
          <a:p>
            <a:pPr algn="just"/>
            <a:endParaRPr lang="ru-RU" sz="1800" dirty="0" smtClean="0">
              <a:latin typeface="PF Centro Sans Pro" panose="02000500000000020004" pitchFamily="50" charset="0"/>
            </a:endParaRPr>
          </a:p>
          <a:p>
            <a:pPr algn="just"/>
            <a:endParaRPr lang="ru-RU" sz="1800" dirty="0">
              <a:latin typeface="PF Centro Sans Pro" panose="02000500000000020004" pitchFamily="50" charset="0"/>
            </a:endParaRPr>
          </a:p>
          <a:p>
            <a:pPr algn="just"/>
            <a:endParaRPr lang="ru-RU" sz="1800" dirty="0" smtClean="0">
              <a:latin typeface="PF Centro Sans Pro" panose="02000500000000020004" pitchFamily="50" charset="0"/>
            </a:endParaRPr>
          </a:p>
          <a:p>
            <a:pPr algn="just"/>
            <a:endParaRPr lang="ru-RU" sz="1800" dirty="0">
              <a:latin typeface="PF Centro Sans Pro" panose="02000500000000020004" pitchFamily="50" charset="0"/>
            </a:endParaRPr>
          </a:p>
          <a:p>
            <a:pPr algn="just"/>
            <a:endParaRPr lang="ru-RU" sz="1800" dirty="0" smtClean="0">
              <a:latin typeface="PF Centro Sans Pro" panose="02000500000000020004" pitchFamily="50" charset="0"/>
            </a:endParaRPr>
          </a:p>
          <a:p>
            <a:pPr algn="just"/>
            <a:r>
              <a:rPr lang="ru-RU" sz="1800" dirty="0" smtClean="0">
                <a:latin typeface="PF Centro Sans Pro" panose="02000500000000020004" pitchFamily="50" charset="0"/>
              </a:rPr>
              <a:t>Реализация перечисленных мероприятий позволит АО «Электропривод» выдержать сроки поставки комплектующих механизмов для гражданских воздушных судов в соответствии </a:t>
            </a:r>
            <a:r>
              <a:rPr lang="ru-RU" sz="1800" dirty="0">
                <a:latin typeface="PF Centro Sans Pro" panose="02000500000000020004" pitchFamily="50" charset="0"/>
              </a:rPr>
              <a:t>с комплексной программой развития авиатранспортной отрасли Российской Федерации до 2030 года, утверждённой распоряжением Правительства Российской Федерации от 25 июня 2022 года №</a:t>
            </a:r>
            <a:r>
              <a:rPr lang="ru-RU" sz="1800" dirty="0" smtClean="0">
                <a:latin typeface="PF Centro Sans Pro" panose="02000500000000020004" pitchFamily="50" charset="0"/>
              </a:rPr>
              <a:t>1693-р.</a:t>
            </a:r>
            <a:endParaRPr lang="ru-RU" sz="1800" dirty="0">
              <a:latin typeface="PF Centro Sans Pro" panose="02000500000000020004" pitchFamily="50" charset="0"/>
            </a:endParaRPr>
          </a:p>
          <a:p>
            <a:pPr algn="just"/>
            <a:endParaRPr lang="ru-RU" sz="1800" dirty="0" smtClean="0">
              <a:latin typeface="PF Centro Sans Pro" panose="02000500000000020004" pitchFamily="50" charset="0"/>
            </a:endParaRPr>
          </a:p>
          <a:p>
            <a:pPr algn="just"/>
            <a:r>
              <a:rPr lang="ru-RU" sz="1800" dirty="0" smtClean="0">
                <a:latin typeface="PF Centro Sans Pro" panose="02000500000000020004" pitchFamily="50" charset="0"/>
              </a:rPr>
              <a:t>Всё оборудование размещается на существующих площадях. </a:t>
            </a:r>
            <a:endParaRPr lang="ru-RU" sz="1800" dirty="0">
              <a:latin typeface="PF Centro Sans Pro" panose="02000500000000020004" pitchFamily="50" charset="0"/>
            </a:endParaRPr>
          </a:p>
          <a:p>
            <a:pPr algn="just"/>
            <a:endParaRPr lang="ru-RU" sz="1800" dirty="0" smtClean="0">
              <a:latin typeface="PF Centro Sans Pro" panose="02000500000000020004" pitchFamily="50" charset="0"/>
            </a:endParaRPr>
          </a:p>
          <a:p>
            <a:pPr algn="just"/>
            <a:endParaRPr lang="ru-RU" sz="1800" dirty="0">
              <a:latin typeface="PF Centro Sans Pro" panose="02000500000000020004" pitchFamily="50" charset="0"/>
            </a:endParaRPr>
          </a:p>
          <a:p>
            <a:pPr algn="just"/>
            <a:endParaRPr lang="ru-RU" sz="1800" dirty="0" smtClean="0">
              <a:latin typeface="PF Centro Sans Pro" panose="02000500000000020004" pitchFamily="50" charset="0"/>
            </a:endParaRPr>
          </a:p>
          <a:p>
            <a:pPr algn="just"/>
            <a:endParaRPr lang="ru-RU" sz="1800" dirty="0">
              <a:latin typeface="PF Centro Sans Pro" panose="02000500000000020004" pitchFamily="50" charset="0"/>
            </a:endParaRPr>
          </a:p>
          <a:p>
            <a:pPr algn="just"/>
            <a:endParaRPr lang="ru-RU" sz="1800" dirty="0" smtClean="0">
              <a:latin typeface="PF Centro Sans Pro" panose="02000500000000020004" pitchFamily="50" charset="0"/>
            </a:endParaRPr>
          </a:p>
          <a:p>
            <a:pPr algn="just"/>
            <a:endParaRPr lang="ru-RU" sz="1800" dirty="0">
              <a:latin typeface="PF Centro Sans Pro" panose="02000500000000020004" pitchFamily="50" charset="0"/>
            </a:endParaRPr>
          </a:p>
          <a:p>
            <a:pPr algn="just"/>
            <a:endParaRPr lang="ru-RU" sz="1800" dirty="0">
              <a:latin typeface="PF Centro Sans Pro" panose="02000500000000020004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14330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/>
              <a:t>Прогноз финансовых результатов 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F339ED8-159E-4E1F-BA65-40F83343A4C2}" type="datetime1">
              <a:rPr lang="ru-RU" smtClean="0"/>
              <a:t>01.12.2022</a:t>
            </a:fld>
            <a:endParaRPr lang="en-US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ru-RU" smtClean="0"/>
              <a:t>АО "Электропривод"</a:t>
            </a:r>
            <a:endParaRPr lang="en-US" dirty="0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38847" y="648466"/>
            <a:ext cx="3432048" cy="749808"/>
          </a:xfrm>
          <a:prstGeom prst="rect">
            <a:avLst/>
          </a:prstGeom>
        </p:spPr>
      </p:pic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9754682"/>
              </p:ext>
            </p:extLst>
          </p:nvPr>
        </p:nvGraphicFramePr>
        <p:xfrm>
          <a:off x="704326" y="2190820"/>
          <a:ext cx="11514168" cy="463167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976129"/>
                <a:gridCol w="1426729"/>
                <a:gridCol w="1426729"/>
                <a:gridCol w="1426729"/>
                <a:gridCol w="1426729"/>
                <a:gridCol w="1426729"/>
                <a:gridCol w="1426729"/>
                <a:gridCol w="977665"/>
              </a:tblGrid>
              <a:tr h="284810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Показатели</a:t>
                      </a:r>
                      <a:endParaRPr lang="ru-RU" sz="14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2021г.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2022г. план</a:t>
                      </a:r>
                      <a:endParaRPr lang="ru-RU" sz="14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2023г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2024г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2025г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2025 г. от 2022 г., +/-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2025 г. к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11196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факт</a:t>
                      </a:r>
                      <a:endParaRPr lang="ru-RU" sz="14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прогноз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прогноз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прогноз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2022г., %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29851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Выручка, тыс. руб.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1306658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1519643,25</a:t>
                      </a:r>
                      <a:endParaRPr lang="ru-RU" sz="14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1635136,14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1936514,58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2246895,91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727 253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148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44350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Себестоимость продаж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927956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1079212,83</a:t>
                      </a:r>
                      <a:endParaRPr lang="ru-RU" sz="14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1161233</a:t>
                      </a:r>
                      <a:endParaRPr lang="ru-RU" sz="14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1355560,21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1572827,14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493 614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146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58849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Коммерческие расходы, тыс. руб.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37855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44025,365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47371,2927</a:t>
                      </a:r>
                      <a:endParaRPr lang="ru-RU" sz="14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50308,3129</a:t>
                      </a:r>
                      <a:endParaRPr lang="ru-RU" sz="14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53175,8867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9 151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121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58849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Управленческие расходы, тыс. руб.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171128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199021,864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214147,526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227424,672</a:t>
                      </a:r>
                      <a:endParaRPr lang="ru-RU" sz="14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240387,879</a:t>
                      </a:r>
                      <a:endParaRPr lang="ru-RU" sz="14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41 366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121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58849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Прибыль от продаж, тыс. руб.</a:t>
                      </a:r>
                      <a:endParaRPr lang="ru-RU" sz="14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169719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197383,197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212384,32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303221,389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380505,009</a:t>
                      </a:r>
                      <a:endParaRPr lang="ru-RU" sz="14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183 122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193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44350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Чистая прибыль, тыс. </a:t>
                      </a:r>
                      <a:r>
                        <a:rPr lang="ru-RU" sz="1400">
                          <a:effectLst/>
                        </a:rPr>
                        <a:t>руб.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130035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157906,558</a:t>
                      </a:r>
                      <a:endParaRPr lang="ru-RU" sz="14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169907,456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242577,112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304404,007</a:t>
                      </a:r>
                      <a:endParaRPr lang="ru-RU" sz="14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146 497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193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58849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Рентабельность продаж, %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12,99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</a:rPr>
                        <a:t>12,98</a:t>
                      </a:r>
                      <a:endParaRPr lang="ru-RU" sz="14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</a:rPr>
                        <a:t>12,98</a:t>
                      </a:r>
                      <a:endParaRPr lang="ru-RU" sz="14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</a:rPr>
                        <a:t>15,65</a:t>
                      </a:r>
                      <a:endParaRPr lang="ru-RU" sz="14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</a:rPr>
                        <a:t>16,93</a:t>
                      </a:r>
                      <a:endParaRPr lang="ru-RU" sz="14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</a:rPr>
                        <a:t>3,94</a:t>
                      </a:r>
                      <a:endParaRPr lang="ru-RU" sz="14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х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58849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Рентабельность деятельности, % 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9,95</a:t>
                      </a:r>
                      <a:endParaRPr lang="ru-RU" sz="14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</a:rPr>
                        <a:t>10,39</a:t>
                      </a:r>
                      <a:endParaRPr lang="ru-RU" sz="14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</a:rPr>
                        <a:t>10,39</a:t>
                      </a:r>
                      <a:endParaRPr lang="ru-RU" sz="14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</a:rPr>
                        <a:t>12,52</a:t>
                      </a:r>
                      <a:endParaRPr lang="ru-RU" sz="14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</a:rPr>
                        <a:t>13,54</a:t>
                      </a:r>
                      <a:endParaRPr lang="ru-RU" sz="14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</a:rPr>
                        <a:t>3,15</a:t>
                      </a:r>
                      <a:endParaRPr lang="ru-RU" sz="14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х</a:t>
                      </a:r>
                      <a:endParaRPr lang="ru-RU" sz="14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sp>
        <p:nvSpPr>
          <p:cNvPr id="10" name="Прямоугольник 9"/>
          <p:cNvSpPr/>
          <p:nvPr/>
        </p:nvSpPr>
        <p:spPr>
          <a:xfrm>
            <a:off x="831953" y="6983677"/>
            <a:ext cx="11386541" cy="2047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Предложенная стратегия позволит АО «Электропривод» выполнить заказы в рамках программы развития гражданской авиации, существенно увеличить свой производственный потенциал и конкурентные преимущества на рынке авиационного оборудования. </a:t>
            </a:r>
          </a:p>
          <a:p>
            <a:r>
              <a:rPr lang="ru-RU" dirty="0"/>
              <a:t>	Своевременный ввод в эксплуатацию предложенного оборудования позволит существенно увеличить выручку и чистую прибыль предприятия, при условии соблюдения прогнозируемого к заказу количества гражданских воздушных судов. </a:t>
            </a:r>
          </a:p>
        </p:txBody>
      </p:sp>
    </p:spTree>
    <p:extLst>
      <p:ext uri="{BB962C8B-B14F-4D97-AF65-F5344CB8AC3E}">
        <p14:creationId xmlns:p14="http://schemas.microsoft.com/office/powerpoint/2010/main" val="24782403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94268" y="-765063"/>
          <a:ext cx="1893" cy="18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985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494268" y="-765063"/>
                        <a:ext cx="1893" cy="18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492371" y="-766960"/>
            <a:ext cx="189373" cy="189373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432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5" name="Текст 2"/>
          <p:cNvSpPr>
            <a:spLocks noGrp="1"/>
          </p:cNvSpPr>
          <p:nvPr>
            <p:ph type="body" sz="quarter" idx="13"/>
          </p:nvPr>
        </p:nvSpPr>
        <p:spPr>
          <a:xfrm>
            <a:off x="587375" y="708273"/>
            <a:ext cx="11481671" cy="787898"/>
          </a:xfrm>
        </p:spPr>
        <p:txBody>
          <a:bodyPr vert="horz" lIns="91440" tIns="45720" rIns="91440" bIns="45720" rtlCol="0">
            <a:noAutofit/>
          </a:bodyPr>
          <a:lstStyle/>
          <a:p>
            <a:pPr marL="0" indent="0">
              <a:buNone/>
            </a:pPr>
            <a:r>
              <a:rPr lang="ru-RU" sz="2000" b="1" dirty="0">
                <a:latin typeface="PF Centro Sans Pro" panose="02000500000000020004" pitchFamily="50" charset="0"/>
              </a:rPr>
              <a:t>Программа выпуска гражданских воздушных судов</a:t>
            </a:r>
            <a:endParaRPr lang="ru-RU" sz="2000" b="1" noProof="1">
              <a:latin typeface="PF Centro Sans Pro" panose="02000500000000020004" pitchFamily="50" charset="0"/>
            </a:endParaRPr>
          </a:p>
        </p:txBody>
      </p:sp>
      <p:sp>
        <p:nvSpPr>
          <p:cNvPr id="30" name="Rectangle 6"/>
          <p:cNvSpPr/>
          <p:nvPr/>
        </p:nvSpPr>
        <p:spPr>
          <a:xfrm>
            <a:off x="0" y="1711060"/>
            <a:ext cx="12801600" cy="123401"/>
          </a:xfrm>
          <a:prstGeom prst="rect">
            <a:avLst/>
          </a:prstGeom>
          <a:solidFill>
            <a:srgbClr val="5E85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5"/>
          </p:nvPr>
        </p:nvSpPr>
        <p:spPr>
          <a:xfrm>
            <a:off x="11024256" y="8984394"/>
            <a:ext cx="1454022" cy="511175"/>
          </a:xfrm>
        </p:spPr>
        <p:txBody>
          <a:bodyPr/>
          <a:lstStyle/>
          <a:p>
            <a:pPr algn="r"/>
            <a:fld id="{507BA088-F718-4C29-B79D-C60B6090533A}" type="datetime1">
              <a:rPr lang="ru-RU" sz="1600" smtClean="0">
                <a:solidFill>
                  <a:srgbClr val="40C4F4"/>
                </a:solidFill>
                <a:latin typeface="PF Centro Sans Pro" panose="02000500000000020004" pitchFamily="50" charset="0"/>
              </a:rPr>
              <a:t>28.11.2022</a:t>
            </a:fld>
            <a:endParaRPr lang="en-US" sz="1600" dirty="0">
              <a:solidFill>
                <a:srgbClr val="40C4F4"/>
              </a:solidFill>
              <a:latin typeface="PF Centro Sans Pro" panose="02000500000000020004" pitchFamily="50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6447" y="496066"/>
            <a:ext cx="3432048" cy="749808"/>
          </a:xfrm>
          <a:prstGeom prst="rect">
            <a:avLst/>
          </a:prstGeom>
        </p:spPr>
      </p:pic>
      <p:sp>
        <p:nvSpPr>
          <p:cNvPr id="8" name="Нижний колонтитул 7"/>
          <p:cNvSpPr>
            <a:spLocks noGrp="1"/>
          </p:cNvSpPr>
          <p:nvPr>
            <p:ph type="ftr" sz="quarter" idx="16"/>
          </p:nvPr>
        </p:nvSpPr>
        <p:spPr>
          <a:xfrm>
            <a:off x="455032" y="9085668"/>
            <a:ext cx="1826638" cy="382962"/>
          </a:xfrm>
        </p:spPr>
        <p:txBody>
          <a:bodyPr/>
          <a:lstStyle/>
          <a:p>
            <a:pPr algn="l"/>
            <a:r>
              <a:rPr lang="ru-RU" sz="2200" baseline="30000" dirty="0">
                <a:solidFill>
                  <a:srgbClr val="00B0F0"/>
                </a:solidFill>
                <a:latin typeface="PF Centro Sans Pro" panose="02000500000000020004" pitchFamily="50" charset="0"/>
              </a:rPr>
              <a:t>АО "Электропривод"</a:t>
            </a:r>
            <a:endParaRPr lang="en-US" sz="2200" baseline="30000" dirty="0">
              <a:solidFill>
                <a:srgbClr val="00B0F0"/>
              </a:solidFill>
              <a:latin typeface="PF Centro Sans Pro" panose="02000500000000020004" pitchFamily="50" charset="0"/>
            </a:endParaRPr>
          </a:p>
        </p:txBody>
      </p:sp>
      <p:sp>
        <p:nvSpPr>
          <p:cNvPr id="50" name="Rectangle 7"/>
          <p:cNvSpPr>
            <a:spLocks noChangeArrowheads="1"/>
          </p:cNvSpPr>
          <p:nvPr/>
        </p:nvSpPr>
        <p:spPr bwMode="auto">
          <a:xfrm>
            <a:off x="96698" y="3443993"/>
            <a:ext cx="184731" cy="5133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 sz="2736"/>
          </a:p>
        </p:txBody>
      </p:sp>
      <p:sp>
        <p:nvSpPr>
          <p:cNvPr id="2" name="Прямоугольник 1"/>
          <p:cNvSpPr/>
          <p:nvPr/>
        </p:nvSpPr>
        <p:spPr>
          <a:xfrm>
            <a:off x="376561" y="1827560"/>
            <a:ext cx="1202324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800" dirty="0"/>
              <a:t>П</a:t>
            </a:r>
            <a:r>
              <a:rPr lang="ru-RU" sz="1800" dirty="0">
                <a:latin typeface="PF Centro Sans Pro" panose="02000500000000020004" pitchFamily="50" charset="0"/>
              </a:rPr>
              <a:t>редложения сформированы исходя из перечисленного в таблице </a:t>
            </a:r>
            <a:r>
              <a:rPr lang="ru-RU" sz="1800" dirty="0" smtClean="0">
                <a:latin typeface="PF Centro Sans Pro" panose="02000500000000020004" pitchFamily="50" charset="0"/>
              </a:rPr>
              <a:t>1 и 2 </a:t>
            </a:r>
            <a:r>
              <a:rPr lang="ru-RU" sz="1800" dirty="0">
                <a:latin typeface="PF Centro Sans Pro" panose="02000500000000020004" pitchFamily="50" charset="0"/>
              </a:rPr>
              <a:t>объема выпуска гражданских воздушных судов.</a:t>
            </a: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8380942"/>
              </p:ext>
            </p:extLst>
          </p:nvPr>
        </p:nvGraphicFramePr>
        <p:xfrm>
          <a:off x="415801" y="2786931"/>
          <a:ext cx="11763461" cy="27908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65090"/>
                <a:gridCol w="949703"/>
                <a:gridCol w="949703"/>
                <a:gridCol w="949703"/>
                <a:gridCol w="948364"/>
                <a:gridCol w="949703"/>
                <a:gridCol w="949703"/>
                <a:gridCol w="949703"/>
                <a:gridCol w="948364"/>
                <a:gridCol w="763513"/>
                <a:gridCol w="1139912"/>
              </a:tblGrid>
              <a:tr h="5607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PF Centro Sans Pro" panose="02000500000000020004" pitchFamily="50" charset="0"/>
                        </a:rPr>
                        <a:t>Наименование объекта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PF Centro Sans Pro" panose="02000500000000020004" pitchFamily="50" charset="0"/>
                        </a:rPr>
                        <a:t>2022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PF Centro Sans Pro" panose="02000500000000020004" pitchFamily="50" charset="0"/>
                        </a:rPr>
                        <a:t>2023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PF Centro Sans Pro" panose="02000500000000020004" pitchFamily="50" charset="0"/>
                        </a:rPr>
                        <a:t>202</a:t>
                      </a:r>
                      <a:r>
                        <a:rPr lang="en-US" sz="1600" dirty="0"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PF Centro Sans Pro" panose="02000500000000020004" pitchFamily="50" charset="0"/>
                        </a:rPr>
                        <a:t>202</a:t>
                      </a:r>
                      <a:r>
                        <a:rPr lang="en-US" sz="1600" dirty="0">
                          <a:effectLst/>
                          <a:latin typeface="PF Centro Sans Pro" panose="02000500000000020004" pitchFamily="50" charset="0"/>
                        </a:rPr>
                        <a:t>5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PF Centro Sans Pro" panose="02000500000000020004" pitchFamily="50" charset="0"/>
                        </a:rPr>
                        <a:t>202</a:t>
                      </a:r>
                      <a:r>
                        <a:rPr lang="en-US" sz="1600" dirty="0">
                          <a:effectLst/>
                          <a:latin typeface="PF Centro Sans Pro" panose="02000500000000020004" pitchFamily="50" charset="0"/>
                        </a:rPr>
                        <a:t>6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PF Centro Sans Pro" panose="02000500000000020004" pitchFamily="50" charset="0"/>
                        </a:rPr>
                        <a:t>202</a:t>
                      </a:r>
                      <a:r>
                        <a:rPr lang="en-US" sz="1600" dirty="0">
                          <a:effectLst/>
                          <a:latin typeface="PF Centro Sans Pro" panose="02000500000000020004" pitchFamily="50" charset="0"/>
                        </a:rPr>
                        <a:t>7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PF Centro Sans Pro" panose="02000500000000020004" pitchFamily="50" charset="0"/>
                        </a:rPr>
                        <a:t>202</a:t>
                      </a:r>
                      <a:r>
                        <a:rPr lang="en-US" sz="1600" dirty="0"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PF Centro Sans Pro" panose="02000500000000020004" pitchFamily="50" charset="0"/>
                        </a:rPr>
                        <a:t>2029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PF Centro Sans Pro" panose="02000500000000020004" pitchFamily="50" charset="0"/>
                        </a:rPr>
                        <a:t>2030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PF Centro Sans Pro" panose="02000500000000020004" pitchFamily="50" charset="0"/>
                        </a:rPr>
                        <a:t>ИТОГО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27877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  <a:effectLst/>
                          <a:latin typeface="PF Centro Sans Pro" panose="02000500000000020004" pitchFamily="50" charset="0"/>
                        </a:rPr>
                        <a:t>SSJ-NEW</a:t>
                      </a:r>
                      <a:endParaRPr lang="ru-RU" sz="1600" b="1" dirty="0">
                        <a:solidFill>
                          <a:schemeClr val="tx1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r>
                        <a:rPr lang="en-US" sz="1600" dirty="0">
                          <a:effectLst/>
                          <a:latin typeface="PF Centro Sans Pro" panose="02000500000000020004" pitchFamily="50" charset="0"/>
                        </a:rPr>
                        <a:t>0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r>
                        <a:rPr lang="en-US" sz="1600" dirty="0">
                          <a:effectLst/>
                          <a:latin typeface="PF Centro Sans Pro" panose="02000500000000020004" pitchFamily="50" charset="0"/>
                        </a:rPr>
                        <a:t>0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r>
                        <a:rPr lang="en-US" sz="1600" dirty="0">
                          <a:effectLst/>
                          <a:latin typeface="PF Centro Sans Pro" panose="02000500000000020004" pitchFamily="50" charset="0"/>
                        </a:rPr>
                        <a:t>0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r>
                        <a:rPr lang="en-US" sz="1600" dirty="0">
                          <a:effectLst/>
                          <a:latin typeface="PF Centro Sans Pro" panose="02000500000000020004" pitchFamily="50" charset="0"/>
                        </a:rPr>
                        <a:t>0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r>
                        <a:rPr lang="en-US" sz="1600" dirty="0">
                          <a:effectLst/>
                          <a:latin typeface="PF Centro Sans Pro" panose="02000500000000020004" pitchFamily="50" charset="0"/>
                        </a:rPr>
                        <a:t>0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r>
                        <a:rPr lang="en-US" sz="1600">
                          <a:effectLst/>
                          <a:latin typeface="PF Centro Sans Pro" panose="02000500000000020004" pitchFamily="50" charset="0"/>
                        </a:rPr>
                        <a:t>0</a:t>
                      </a:r>
                      <a:endParaRPr lang="ru-RU" sz="160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r>
                        <a:rPr lang="en-US" sz="1600">
                          <a:effectLst/>
                          <a:latin typeface="PF Centro Sans Pro" panose="02000500000000020004" pitchFamily="50" charset="0"/>
                        </a:rPr>
                        <a:t>0</a:t>
                      </a:r>
                      <a:endParaRPr lang="ru-RU" sz="160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PF Centro Sans Pro" panose="02000500000000020004" pitchFamily="50" charset="0"/>
                        </a:rPr>
                        <a:t>142</a:t>
                      </a:r>
                      <a:endParaRPr lang="ru-RU" sz="1600" b="1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27877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  <a:effectLst/>
                          <a:latin typeface="PF Centro Sans Pro" panose="02000500000000020004" pitchFamily="50" charset="0"/>
                        </a:rPr>
                        <a:t>MC-21</a:t>
                      </a:r>
                      <a:endParaRPr lang="ru-RU" sz="1600" b="1" dirty="0">
                        <a:solidFill>
                          <a:schemeClr val="tx1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60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PF Centro Sans Pro" panose="02000500000000020004" pitchFamily="50" charset="0"/>
                        </a:rPr>
                        <a:t>6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PF Centro Sans Pro" panose="02000500000000020004" pitchFamily="50" charset="0"/>
                        </a:rPr>
                        <a:t>12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PF Centro Sans Pro" panose="02000500000000020004" pitchFamily="50" charset="0"/>
                        </a:rPr>
                        <a:t>22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PF Centro Sans Pro" panose="02000500000000020004" pitchFamily="50" charset="0"/>
                        </a:rPr>
                        <a:t>36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PF Centro Sans Pro" panose="02000500000000020004" pitchFamily="50" charset="0"/>
                        </a:rPr>
                        <a:t>50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PF Centro Sans Pro" panose="02000500000000020004" pitchFamily="50" charset="0"/>
                        </a:rPr>
                        <a:t>72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PF Centro Sans Pro" panose="02000500000000020004" pitchFamily="50" charset="0"/>
                        </a:rPr>
                        <a:t>72</a:t>
                      </a:r>
                      <a:endParaRPr lang="ru-RU" sz="160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PF Centro Sans Pro" panose="02000500000000020004" pitchFamily="50" charset="0"/>
                        </a:rPr>
                        <a:t>272</a:t>
                      </a:r>
                      <a:endParaRPr lang="ru-RU" sz="1600" b="1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27877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tx1"/>
                          </a:solidFill>
                          <a:effectLst/>
                          <a:latin typeface="PF Centro Sans Pro" panose="02000500000000020004" pitchFamily="50" charset="0"/>
                        </a:rPr>
                        <a:t>Ту-214</a:t>
                      </a:r>
                      <a:endParaRPr lang="ru-RU" sz="1600" b="1" dirty="0">
                        <a:solidFill>
                          <a:schemeClr val="tx1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endParaRPr lang="ru-RU" sz="160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PF Centro Sans Pro" panose="02000500000000020004" pitchFamily="50" charset="0"/>
                        </a:rPr>
                        <a:t>3</a:t>
                      </a:r>
                      <a:endParaRPr lang="ru-RU" sz="160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PF Centro Sans Pro" panose="02000500000000020004" pitchFamily="50" charset="0"/>
                        </a:rPr>
                        <a:t>7</a:t>
                      </a:r>
                      <a:endParaRPr lang="ru-RU" sz="160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PF Centro Sans Pro" panose="02000500000000020004" pitchFamily="50" charset="0"/>
                        </a:rPr>
                        <a:t>10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PF Centro Sans Pro" panose="02000500000000020004" pitchFamily="50" charset="0"/>
                        </a:rPr>
                        <a:t>10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PF Centro Sans Pro" panose="02000500000000020004" pitchFamily="50" charset="0"/>
                        </a:rPr>
                        <a:t>10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PF Centro Sans Pro" panose="02000500000000020004" pitchFamily="50" charset="0"/>
                        </a:rPr>
                        <a:t>10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PF Centro Sans Pro" panose="02000500000000020004" pitchFamily="50" charset="0"/>
                        </a:rPr>
                        <a:t>10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PF Centro Sans Pro" panose="02000500000000020004" pitchFamily="50" charset="0"/>
                        </a:rPr>
                        <a:t>10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PF Centro Sans Pro" panose="02000500000000020004" pitchFamily="50" charset="0"/>
                        </a:rPr>
                        <a:t>72</a:t>
                      </a:r>
                      <a:endParaRPr lang="ru-RU" sz="1600" b="1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27877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PF Centro Sans Pro" panose="02000500000000020004" pitchFamily="50" charset="0"/>
                        </a:rPr>
                        <a:t>Ил-96-300</a:t>
                      </a:r>
                      <a:endParaRPr lang="ru-RU" sz="1600" b="1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endParaRPr lang="ru-RU" sz="160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PF Centro Sans Pro" panose="02000500000000020004" pitchFamily="50" charset="0"/>
                        </a:rPr>
                        <a:t>1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endParaRPr lang="ru-RU" sz="160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endParaRPr lang="ru-RU" sz="160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endParaRPr lang="ru-RU" sz="160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PF Centro Sans Pro" panose="02000500000000020004" pitchFamily="50" charset="0"/>
                        </a:rPr>
                        <a:t>1</a:t>
                      </a:r>
                      <a:r>
                        <a:rPr lang="ru-RU" sz="1600" b="1" dirty="0">
                          <a:effectLst/>
                          <a:latin typeface="PF Centro Sans Pro" panose="02000500000000020004" pitchFamily="50" charset="0"/>
                        </a:rPr>
                        <a:t>7</a:t>
                      </a:r>
                      <a:endParaRPr lang="ru-RU" sz="1600" b="1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27877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Ил-114-3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endParaRPr lang="ru-RU" sz="160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PF Centro Sans Pro" panose="02000500000000020004" pitchFamily="50" charset="0"/>
                        </a:rPr>
                        <a:t>3</a:t>
                      </a:r>
                      <a:endParaRPr lang="ru-RU" sz="160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60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PF Centro Sans Pro" panose="02000500000000020004" pitchFamily="50" charset="0"/>
                        </a:rPr>
                        <a:t>12</a:t>
                      </a:r>
                      <a:endParaRPr lang="ru-RU" sz="160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PF Centro Sans Pro" panose="02000500000000020004" pitchFamily="50" charset="0"/>
                        </a:rPr>
                        <a:t>12</a:t>
                      </a:r>
                      <a:endParaRPr lang="ru-RU" sz="160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PF Centro Sans Pro" panose="02000500000000020004" pitchFamily="50" charset="0"/>
                        </a:rPr>
                        <a:t>12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PF Centro Sans Pro" panose="02000500000000020004" pitchFamily="50" charset="0"/>
                        </a:rPr>
                        <a:t>12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PF Centro Sans Pro" panose="02000500000000020004" pitchFamily="50" charset="0"/>
                        </a:rPr>
                        <a:t>12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PF Centro Sans Pro" panose="02000500000000020004" pitchFamily="50" charset="0"/>
                        </a:rPr>
                        <a:t>7</a:t>
                      </a:r>
                      <a:r>
                        <a:rPr lang="ru-RU" sz="1600" b="1" dirty="0">
                          <a:effectLst/>
                          <a:latin typeface="PF Centro Sans Pro" panose="02000500000000020004" pitchFamily="50" charset="0"/>
                        </a:rPr>
                        <a:t>3</a:t>
                      </a:r>
                      <a:endParaRPr lang="ru-RU" sz="1600" b="1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27877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Ил-76/7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PF Centro Sans Pro" panose="02000500000000020004" pitchFamily="50" charset="0"/>
                        </a:rPr>
                        <a:t>6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60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PF Centro Sans Pro" panose="02000500000000020004" pitchFamily="50" charset="0"/>
                        </a:rPr>
                        <a:t>12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PF Centro Sans Pro" panose="02000500000000020004" pitchFamily="50" charset="0"/>
                        </a:rPr>
                        <a:t>18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PF Centro Sans Pro" panose="02000500000000020004" pitchFamily="50" charset="0"/>
                        </a:rPr>
                        <a:t>18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PF Centro Sans Pro" panose="02000500000000020004" pitchFamily="50" charset="0"/>
                        </a:rPr>
                        <a:t>18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PF Centro Sans Pro" panose="02000500000000020004" pitchFamily="50" charset="0"/>
                        </a:rPr>
                        <a:t>18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PF Centro Sans Pro" panose="02000500000000020004" pitchFamily="50" charset="0"/>
                        </a:rPr>
                        <a:t>18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PF Centro Sans Pro" panose="02000500000000020004" pitchFamily="50" charset="0"/>
                        </a:rPr>
                        <a:t>18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PF Centro Sans Pro" panose="02000500000000020004" pitchFamily="50" charset="0"/>
                        </a:rPr>
                        <a:t>133</a:t>
                      </a:r>
                      <a:endParaRPr lang="ru-RU" sz="1600" b="1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278773">
                <a:tc>
                  <a:txBody>
                    <a:bodyPr/>
                    <a:lstStyle/>
                    <a:p>
                      <a:pPr marL="0" marR="0" indent="0" algn="ctr" defTabSz="128016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ТВРС-44 "Ладога"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5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0</a:t>
                      </a:r>
                      <a:endParaRPr lang="ru-RU" sz="1600" b="1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278773">
                <a:tc>
                  <a:txBody>
                    <a:bodyPr/>
                    <a:lstStyle/>
                    <a:p>
                      <a:pPr marL="0" marR="0" indent="0" algn="ctr" defTabSz="128016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"Байкал" (ЛМС-901)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5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54</a:t>
                      </a:r>
                      <a:endParaRPr lang="ru-RU" sz="1600" b="1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376561" y="2438987"/>
            <a:ext cx="245131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800" dirty="0">
                <a:latin typeface="PF Centro Sans Pro" panose="02000500000000020004" pitchFamily="50" charset="0"/>
                <a:ea typeface="Calibri" panose="020F0502020204030204" pitchFamily="34" charset="0"/>
              </a:rPr>
              <a:t>Таблица </a:t>
            </a:r>
            <a:r>
              <a:rPr lang="ru-RU" sz="1800" dirty="0" smtClean="0">
                <a:latin typeface="PF Centro Sans Pro" panose="02000500000000020004" pitchFamily="50" charset="0"/>
                <a:ea typeface="Calibri" panose="020F0502020204030204" pitchFamily="34" charset="0"/>
              </a:rPr>
              <a:t>1 - Самолеты</a:t>
            </a:r>
            <a:endParaRPr lang="ru-RU" sz="1800" dirty="0">
              <a:latin typeface="PF Centro Sans Pro" panose="02000500000000020004" pitchFamily="50" charset="0"/>
            </a:endParaRPr>
          </a:p>
        </p:txBody>
      </p:sp>
      <p:graphicFrame>
        <p:nvGraphicFramePr>
          <p:cNvPr id="14" name="Таблица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7767248"/>
              </p:ext>
            </p:extLst>
          </p:nvPr>
        </p:nvGraphicFramePr>
        <p:xfrm>
          <a:off x="455034" y="6062005"/>
          <a:ext cx="11763461" cy="28420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65090"/>
                <a:gridCol w="949703"/>
                <a:gridCol w="949703"/>
                <a:gridCol w="949703"/>
                <a:gridCol w="948364"/>
                <a:gridCol w="949703"/>
                <a:gridCol w="949703"/>
                <a:gridCol w="949703"/>
                <a:gridCol w="948364"/>
                <a:gridCol w="763513"/>
                <a:gridCol w="1139912"/>
              </a:tblGrid>
              <a:tr h="36327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PF Centro Sans Pro" panose="02000500000000020004" pitchFamily="50" charset="0"/>
                        </a:rPr>
                        <a:t>Наименование объекта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PF Centro Sans Pro" panose="02000500000000020004" pitchFamily="50" charset="0"/>
                        </a:rPr>
                        <a:t>2022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PF Centro Sans Pro" panose="02000500000000020004" pitchFamily="50" charset="0"/>
                        </a:rPr>
                        <a:t>2023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PF Centro Sans Pro" panose="02000500000000020004" pitchFamily="50" charset="0"/>
                        </a:rPr>
                        <a:t>202</a:t>
                      </a:r>
                      <a:r>
                        <a:rPr lang="en-US" sz="1600" dirty="0"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PF Centro Sans Pro" panose="02000500000000020004" pitchFamily="50" charset="0"/>
                        </a:rPr>
                        <a:t>202</a:t>
                      </a:r>
                      <a:r>
                        <a:rPr lang="en-US" sz="1600" dirty="0">
                          <a:effectLst/>
                          <a:latin typeface="PF Centro Sans Pro" panose="02000500000000020004" pitchFamily="50" charset="0"/>
                        </a:rPr>
                        <a:t>5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PF Centro Sans Pro" panose="02000500000000020004" pitchFamily="50" charset="0"/>
                        </a:rPr>
                        <a:t>202</a:t>
                      </a:r>
                      <a:r>
                        <a:rPr lang="en-US" sz="1600" dirty="0">
                          <a:effectLst/>
                          <a:latin typeface="PF Centro Sans Pro" panose="02000500000000020004" pitchFamily="50" charset="0"/>
                        </a:rPr>
                        <a:t>6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PF Centro Sans Pro" panose="02000500000000020004" pitchFamily="50" charset="0"/>
                        </a:rPr>
                        <a:t>202</a:t>
                      </a:r>
                      <a:r>
                        <a:rPr lang="en-US" sz="1600" dirty="0">
                          <a:effectLst/>
                          <a:latin typeface="PF Centro Sans Pro" panose="02000500000000020004" pitchFamily="50" charset="0"/>
                        </a:rPr>
                        <a:t>7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PF Centro Sans Pro" panose="02000500000000020004" pitchFamily="50" charset="0"/>
                        </a:rPr>
                        <a:t>202</a:t>
                      </a:r>
                      <a:r>
                        <a:rPr lang="en-US" sz="1600" dirty="0"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PF Centro Sans Pro" panose="02000500000000020004" pitchFamily="50" charset="0"/>
                        </a:rPr>
                        <a:t>2029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PF Centro Sans Pro" panose="02000500000000020004" pitchFamily="50" charset="0"/>
                        </a:rPr>
                        <a:t>2030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PF Centro Sans Pro" panose="02000500000000020004" pitchFamily="50" charset="0"/>
                        </a:rPr>
                        <a:t>ИТОГО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21756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err="1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Ансат</a:t>
                      </a:r>
                      <a:endParaRPr lang="ru-RU" sz="1600" b="1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3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9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2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3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3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3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3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1</a:t>
                      </a:r>
                      <a:endParaRPr lang="ru-RU" sz="1600" b="1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182050">
                <a:tc>
                  <a:txBody>
                    <a:bodyPr/>
                    <a:lstStyle/>
                    <a:p>
                      <a:pPr marL="0" marR="0" indent="0" algn="ctr" defTabSz="128016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kern="1200" baseline="0" dirty="0" smtClean="0">
                          <a:solidFill>
                            <a:schemeClr val="dk1"/>
                          </a:solidFill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Ми-171А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1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6</a:t>
                      </a:r>
                      <a:endParaRPr lang="ru-RU" sz="1600" b="1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182050">
                <a:tc>
                  <a:txBody>
                    <a:bodyPr/>
                    <a:lstStyle/>
                    <a:p>
                      <a:pPr marL="0" marR="0" indent="0" algn="ctr" defTabSz="128016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kern="1200" baseline="0" dirty="0" smtClean="0">
                          <a:solidFill>
                            <a:schemeClr val="dk1"/>
                          </a:solidFill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Ка-32А11М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7</a:t>
                      </a:r>
                      <a:endParaRPr lang="ru-RU" sz="1600" b="1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18205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а-62</a:t>
                      </a:r>
                      <a:endParaRPr lang="ru-RU" sz="1600" b="1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1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1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6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8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0</a:t>
                      </a:r>
                      <a:endParaRPr lang="ru-RU" sz="1600" b="1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18205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Ми-38</a:t>
                      </a:r>
                      <a:endParaRPr lang="ru-RU" sz="1600" b="1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9</a:t>
                      </a:r>
                      <a:endParaRPr lang="ru-RU" sz="1600" b="1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ctr" defTabSz="128016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kern="1200" baseline="0" dirty="0" smtClean="0">
                          <a:solidFill>
                            <a:schemeClr val="dk1"/>
                          </a:solidFill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Ми-171А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9</a:t>
                      </a:r>
                      <a:endParaRPr lang="ru-RU" sz="1600" b="1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259123">
                <a:tc>
                  <a:txBody>
                    <a:bodyPr/>
                    <a:lstStyle/>
                    <a:p>
                      <a:pPr marL="0" marR="0" indent="0" algn="ctr" defTabSz="128016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kern="1200" baseline="0" dirty="0" smtClean="0">
                          <a:solidFill>
                            <a:schemeClr val="dk1"/>
                          </a:solidFill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Ми-8МТВ-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9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7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4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0</a:t>
                      </a:r>
                      <a:endParaRPr lang="ru-RU" sz="1600" b="1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201137">
                <a:tc>
                  <a:txBody>
                    <a:bodyPr/>
                    <a:lstStyle/>
                    <a:p>
                      <a:pPr marL="0" marR="0" indent="0" algn="ctr" defTabSz="128016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kern="1200" baseline="0" dirty="0" smtClean="0">
                          <a:solidFill>
                            <a:schemeClr val="dk1"/>
                          </a:solidFill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Ми-8АМТ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4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2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0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56</a:t>
                      </a:r>
                      <a:endParaRPr lang="ru-RU" sz="1600" b="1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201137">
                <a:tc>
                  <a:txBody>
                    <a:bodyPr/>
                    <a:lstStyle/>
                    <a:p>
                      <a:pPr marL="0" marR="0" indent="0" algn="ctr" defTabSz="128016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kern="1200" baseline="0" dirty="0" smtClean="0">
                          <a:solidFill>
                            <a:schemeClr val="dk1"/>
                          </a:solidFill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Ка-2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600" b="1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sp>
        <p:nvSpPr>
          <p:cNvPr id="15" name="Прямоугольник 14"/>
          <p:cNvSpPr/>
          <p:nvPr/>
        </p:nvSpPr>
        <p:spPr>
          <a:xfrm>
            <a:off x="415794" y="5701704"/>
            <a:ext cx="252505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800" dirty="0">
                <a:latin typeface="PF Centro Sans Pro" panose="02000500000000020004" pitchFamily="50" charset="0"/>
                <a:ea typeface="Calibri" panose="020F0502020204030204" pitchFamily="34" charset="0"/>
              </a:rPr>
              <a:t>Таблица 2</a:t>
            </a:r>
            <a:r>
              <a:rPr lang="ru-RU" sz="1800" dirty="0" smtClean="0">
                <a:latin typeface="PF Centro Sans Pro" panose="02000500000000020004" pitchFamily="50" charset="0"/>
                <a:ea typeface="Calibri" panose="020F0502020204030204" pitchFamily="34" charset="0"/>
              </a:rPr>
              <a:t> - Вертолеты</a:t>
            </a:r>
            <a:endParaRPr lang="ru-RU" sz="1800" dirty="0">
              <a:latin typeface="PF Centro Sans Pro" panose="02000500000000020004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3467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94268" y="-765063"/>
          <a:ext cx="1893" cy="18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16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494268" y="-765063"/>
                        <a:ext cx="1893" cy="18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492371" y="-766960"/>
            <a:ext cx="189373" cy="189373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432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5" name="Текст 2"/>
          <p:cNvSpPr>
            <a:spLocks noGrp="1"/>
          </p:cNvSpPr>
          <p:nvPr>
            <p:ph type="body" sz="quarter" idx="13"/>
          </p:nvPr>
        </p:nvSpPr>
        <p:spPr>
          <a:xfrm>
            <a:off x="587375" y="708273"/>
            <a:ext cx="11481671" cy="787898"/>
          </a:xfrm>
        </p:spPr>
        <p:txBody>
          <a:bodyPr vert="horz" lIns="91440" tIns="45720" rIns="91440" bIns="45720" rtlCol="0">
            <a:noAutofit/>
          </a:bodyPr>
          <a:lstStyle/>
          <a:p>
            <a:pPr marL="0" indent="0">
              <a:buNone/>
            </a:pPr>
            <a:r>
              <a:rPr lang="ru-RU" sz="2000" b="1" dirty="0">
                <a:latin typeface="PF Centro Sans Pro" panose="02000500000000020004" pitchFamily="50" charset="0"/>
              </a:rPr>
              <a:t>Применяемость изделий разработки и изготовления </a:t>
            </a:r>
            <a:endParaRPr lang="ru-RU" sz="2000" b="1" dirty="0" smtClean="0">
              <a:latin typeface="PF Centro Sans Pro" panose="02000500000000020004" pitchFamily="50" charset="0"/>
            </a:endParaRPr>
          </a:p>
          <a:p>
            <a:pPr marL="0" indent="0">
              <a:buNone/>
            </a:pPr>
            <a:r>
              <a:rPr lang="ru-RU" sz="2000" b="1" dirty="0" smtClean="0">
                <a:latin typeface="PF Centro Sans Pro" panose="02000500000000020004" pitchFamily="50" charset="0"/>
              </a:rPr>
              <a:t>АО </a:t>
            </a:r>
            <a:r>
              <a:rPr lang="ru-RU" sz="2000" b="1" dirty="0">
                <a:latin typeface="PF Centro Sans Pro" panose="02000500000000020004" pitchFamily="50" charset="0"/>
              </a:rPr>
              <a:t>"</a:t>
            </a:r>
            <a:r>
              <a:rPr lang="ru-RU" sz="2000" b="1" dirty="0" smtClean="0">
                <a:latin typeface="PF Centro Sans Pro" panose="02000500000000020004" pitchFamily="50" charset="0"/>
              </a:rPr>
              <a:t>Электропривод" на самолетах</a:t>
            </a:r>
            <a:endParaRPr lang="ru-RU" sz="2000" b="1" noProof="1">
              <a:latin typeface="PF Centro Sans Pro" panose="02000500000000020004" pitchFamily="50" charset="0"/>
            </a:endParaRPr>
          </a:p>
        </p:txBody>
      </p:sp>
      <p:sp>
        <p:nvSpPr>
          <p:cNvPr id="30" name="Rectangle 6"/>
          <p:cNvSpPr/>
          <p:nvPr/>
        </p:nvSpPr>
        <p:spPr>
          <a:xfrm>
            <a:off x="0" y="1711060"/>
            <a:ext cx="12801600" cy="123401"/>
          </a:xfrm>
          <a:prstGeom prst="rect">
            <a:avLst/>
          </a:prstGeom>
          <a:solidFill>
            <a:srgbClr val="5E85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5"/>
          </p:nvPr>
        </p:nvSpPr>
        <p:spPr>
          <a:xfrm>
            <a:off x="11024256" y="8984394"/>
            <a:ext cx="1454022" cy="511175"/>
          </a:xfrm>
        </p:spPr>
        <p:txBody>
          <a:bodyPr/>
          <a:lstStyle/>
          <a:p>
            <a:pPr algn="r"/>
            <a:fld id="{507BA088-F718-4C29-B79D-C60B6090533A}" type="datetime1">
              <a:rPr lang="ru-RU" sz="1600" smtClean="0">
                <a:solidFill>
                  <a:srgbClr val="40C4F4"/>
                </a:solidFill>
                <a:latin typeface="PF Centro Sans Pro" panose="02000500000000020004" pitchFamily="50" charset="0"/>
              </a:rPr>
              <a:t>28.11.2022</a:t>
            </a:fld>
            <a:endParaRPr lang="en-US" sz="1600" dirty="0">
              <a:solidFill>
                <a:srgbClr val="40C4F4"/>
              </a:solidFill>
              <a:latin typeface="PF Centro Sans Pro" panose="02000500000000020004" pitchFamily="50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6447" y="496066"/>
            <a:ext cx="3432048" cy="749808"/>
          </a:xfrm>
          <a:prstGeom prst="rect">
            <a:avLst/>
          </a:prstGeom>
        </p:spPr>
      </p:pic>
      <p:sp>
        <p:nvSpPr>
          <p:cNvPr id="8" name="Нижний колонтитул 7"/>
          <p:cNvSpPr>
            <a:spLocks noGrp="1"/>
          </p:cNvSpPr>
          <p:nvPr>
            <p:ph type="ftr" sz="quarter" idx="16"/>
          </p:nvPr>
        </p:nvSpPr>
        <p:spPr>
          <a:xfrm>
            <a:off x="455032" y="9085668"/>
            <a:ext cx="1826638" cy="382962"/>
          </a:xfrm>
        </p:spPr>
        <p:txBody>
          <a:bodyPr/>
          <a:lstStyle/>
          <a:p>
            <a:pPr algn="l"/>
            <a:r>
              <a:rPr lang="ru-RU" sz="2200" baseline="30000" dirty="0">
                <a:solidFill>
                  <a:srgbClr val="00B0F0"/>
                </a:solidFill>
                <a:latin typeface="PF Centro Sans Pro" panose="02000500000000020004" pitchFamily="50" charset="0"/>
              </a:rPr>
              <a:t>АО "Электропривод"</a:t>
            </a:r>
            <a:endParaRPr lang="en-US" sz="2200" baseline="30000" dirty="0">
              <a:solidFill>
                <a:srgbClr val="00B0F0"/>
              </a:solidFill>
              <a:latin typeface="PF Centro Sans Pro" panose="02000500000000020004" pitchFamily="50" charset="0"/>
            </a:endParaRPr>
          </a:p>
        </p:txBody>
      </p:sp>
      <p:sp>
        <p:nvSpPr>
          <p:cNvPr id="50" name="Rectangle 7"/>
          <p:cNvSpPr>
            <a:spLocks noChangeArrowheads="1"/>
          </p:cNvSpPr>
          <p:nvPr/>
        </p:nvSpPr>
        <p:spPr bwMode="auto">
          <a:xfrm>
            <a:off x="96698" y="3443993"/>
            <a:ext cx="184731" cy="5133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 sz="2736"/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4475893"/>
              </p:ext>
            </p:extLst>
          </p:nvPr>
        </p:nvGraphicFramePr>
        <p:xfrm>
          <a:off x="232002" y="1971134"/>
          <a:ext cx="6045231" cy="671740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511197"/>
                <a:gridCol w="1248032"/>
                <a:gridCol w="1198606"/>
                <a:gridCol w="1087396"/>
              </a:tblGrid>
              <a:tr h="63614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Объект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Изделие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Количество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PF Centro Sans Pro" panose="02000500000000020004" pitchFamily="50" charset="0"/>
                        </a:rPr>
                        <a:t>Стадия</a:t>
                      </a:r>
                      <a:endParaRPr lang="ru-RU" sz="140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</a:tr>
              <a:tr h="33784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МС-21 в составе ПД-14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МЗС-14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endParaRPr lang="ru-RU" sz="140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Серийное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</a:tr>
              <a:tr h="33784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МС-21 в составе ПД-14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ПСФ-14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Серийное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</a:tr>
              <a:tr h="33784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МС-21 в составе ПД-14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ССП-ПД14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Серийное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</a:tr>
              <a:tr h="33784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МС-21 в составе ПД-14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СЭПК-14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endParaRPr lang="ru-RU" sz="140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Серийное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</a:tr>
              <a:tr h="33784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МС-21 в составе ПД-14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PF Centro Sans Pro" panose="02000500000000020004" pitchFamily="50" charset="0"/>
                        </a:rPr>
                        <a:t>ЭМТ-14РУ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Серийное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</a:tr>
              <a:tr h="33784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PF Centro Sans Pro" panose="02000500000000020004" pitchFamily="50" charset="0"/>
                        </a:rPr>
                        <a:t>МС-21 в составе ПД-14</a:t>
                      </a:r>
                      <a:endParaRPr lang="ru-RU" sz="140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ЭРУ-ПД14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ОКР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</a:tr>
              <a:tr h="33784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МС-21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PF Centro Sans Pro" panose="02000500000000020004" pitchFamily="50" charset="0"/>
                        </a:rPr>
                        <a:t>ЭМБ-МС-21</a:t>
                      </a:r>
                      <a:endParaRPr lang="ru-RU" sz="140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ОКР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</a:tr>
              <a:tr h="33784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МС-21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PF Centro Sans Pro" panose="02000500000000020004" pitchFamily="50" charset="0"/>
                        </a:rPr>
                        <a:t>ЭПВС-ВСУ</a:t>
                      </a:r>
                      <a:endParaRPr lang="ru-RU" sz="140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ОКР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</a:tr>
              <a:tr h="33784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МС-21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СПМК-МС-21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1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ОКР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</a:tr>
              <a:tr h="33784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МС-21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PF Centro Sans Pro" panose="02000500000000020004" pitchFamily="50" charset="0"/>
                        </a:rPr>
                        <a:t>УГДФ</a:t>
                      </a:r>
                      <a:endParaRPr lang="ru-RU" sz="140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1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ОКР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</a:tr>
              <a:tr h="33784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МС-21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PF Centro Sans Pro" panose="02000500000000020004" pitchFamily="50" charset="0"/>
                        </a:rPr>
                        <a:t>СОЛС</a:t>
                      </a:r>
                      <a:endParaRPr lang="ru-RU" sz="140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1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ОКР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</a:tr>
              <a:tr h="33784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PF Centro Sans Pro" panose="02000500000000020004" pitchFamily="50" charset="0"/>
                        </a:rPr>
                        <a:t>SSJ-NEW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PF Centro Sans Pro" panose="02000500000000020004" pitchFamily="50" charset="0"/>
                        </a:rPr>
                        <a:t>СУМК</a:t>
                      </a:r>
                      <a:endParaRPr lang="ru-RU" sz="140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1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ОКР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</a:tr>
              <a:tr h="33784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PF Centro Sans Pro" panose="02000500000000020004" pitchFamily="50" charset="0"/>
                        </a:rPr>
                        <a:t>SSJ</a:t>
                      </a: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r>
                        <a:rPr lang="en-US" sz="1400" dirty="0">
                          <a:effectLst/>
                          <a:latin typeface="PF Centro Sans Pro" panose="02000500000000020004" pitchFamily="50" charset="0"/>
                        </a:rPr>
                        <a:t>NEW</a:t>
                      </a: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 в составе ПД-8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PF Centro Sans Pro" panose="02000500000000020004" pitchFamily="50" charset="0"/>
                        </a:rPr>
                        <a:t>СЭПК-8</a:t>
                      </a:r>
                      <a:endParaRPr lang="ru-RU" sz="140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ОКР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</a:tr>
              <a:tr h="33784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PF Centro Sans Pro" panose="02000500000000020004" pitchFamily="50" charset="0"/>
                        </a:rPr>
                        <a:t>SSJ</a:t>
                      </a: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r>
                        <a:rPr lang="en-US" sz="1400" dirty="0">
                          <a:effectLst/>
                          <a:latin typeface="PF Centro Sans Pro" panose="02000500000000020004" pitchFamily="50" charset="0"/>
                        </a:rPr>
                        <a:t>NEW</a:t>
                      </a: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 в составе ПД-8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PF Centro Sans Pro" panose="02000500000000020004" pitchFamily="50" charset="0"/>
                        </a:rPr>
                        <a:t>МЗС-14</a:t>
                      </a:r>
                      <a:endParaRPr lang="ru-RU" sz="140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Серийное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</a:tr>
              <a:tr h="33784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1" kern="1200" dirty="0">
                          <a:solidFill>
                            <a:schemeClr val="lt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SSJ</a:t>
                      </a:r>
                      <a:r>
                        <a:rPr lang="ru-RU" sz="1400" b="1" kern="1200" dirty="0">
                          <a:solidFill>
                            <a:schemeClr val="lt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-</a:t>
                      </a:r>
                      <a:r>
                        <a:rPr lang="en-US" sz="1400" b="1" kern="1200" dirty="0">
                          <a:solidFill>
                            <a:schemeClr val="lt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NEW</a:t>
                      </a:r>
                      <a:r>
                        <a:rPr lang="ru-RU" sz="1400" b="1" kern="1200" dirty="0">
                          <a:solidFill>
                            <a:schemeClr val="lt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 в составе ПД-8</a:t>
                      </a: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PF Centro Sans Pro" panose="02000500000000020004" pitchFamily="50" charset="0"/>
                        </a:rPr>
                        <a:t>ПСФ-14</a:t>
                      </a:r>
                      <a:endParaRPr lang="ru-RU" sz="140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Серийное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</a:tr>
              <a:tr h="33784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1" kern="1200" dirty="0">
                          <a:solidFill>
                            <a:schemeClr val="lt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SSJ</a:t>
                      </a:r>
                      <a:r>
                        <a:rPr lang="ru-RU" sz="1400" b="1" kern="1200" dirty="0">
                          <a:solidFill>
                            <a:schemeClr val="lt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-</a:t>
                      </a:r>
                      <a:r>
                        <a:rPr lang="en-US" sz="1400" b="1" kern="1200" dirty="0">
                          <a:solidFill>
                            <a:schemeClr val="lt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NEW</a:t>
                      </a:r>
                      <a:r>
                        <a:rPr lang="ru-RU" sz="1400" b="1" kern="1200" dirty="0">
                          <a:solidFill>
                            <a:schemeClr val="lt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 в составе ПД-8</a:t>
                      </a: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PF Centro Sans Pro" panose="02000500000000020004" pitchFamily="50" charset="0"/>
                        </a:rPr>
                        <a:t>ЭМТ-14РУ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Серийное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</a:tr>
              <a:tr h="33784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Ил-76МД-90А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БК-90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Серийное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</a:tr>
              <a:tr h="33784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Ил-76МД-90А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СУПМ-76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1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Серийное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</a:tr>
            </a:tbl>
          </a:graphicData>
        </a:graphic>
      </p:graphicFrame>
      <p:graphicFrame>
        <p:nvGraphicFramePr>
          <p:cNvPr id="12" name="Таблица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9944478"/>
              </p:ext>
            </p:extLst>
          </p:nvPr>
        </p:nvGraphicFramePr>
        <p:xfrm>
          <a:off x="6433047" y="1971139"/>
          <a:ext cx="6045231" cy="691302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511198"/>
                <a:gridCol w="1237723"/>
                <a:gridCol w="1221272"/>
                <a:gridCol w="1075038"/>
              </a:tblGrid>
              <a:tr h="61180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Объект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Изделие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PF Centro Sans Pro" panose="02000500000000020004" pitchFamily="50" charset="0"/>
                        </a:rPr>
                        <a:t>Количество</a:t>
                      </a:r>
                      <a:endParaRPr lang="ru-RU" sz="140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PF Centro Sans Pro" panose="02000500000000020004" pitchFamily="50" charset="0"/>
                        </a:rPr>
                        <a:t>Стадия</a:t>
                      </a:r>
                      <a:endParaRPr lang="ru-RU" sz="140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</a:tr>
              <a:tr h="296503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Ту-214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ДБ32-25-12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Серийное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</a:tr>
              <a:tr h="296503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Ту-214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ДД37Т5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PF Centro Sans Pro" panose="02000500000000020004" pitchFamily="50" charset="0"/>
                        </a:rPr>
                        <a:t>1</a:t>
                      </a:r>
                      <a:endParaRPr lang="ru-RU" sz="140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PF Centro Sans Pro" panose="02000500000000020004" pitchFamily="50" charset="0"/>
                        </a:rPr>
                        <a:t>Серийное</a:t>
                      </a:r>
                      <a:endParaRPr lang="ru-RU" sz="140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</a:tr>
              <a:tr h="296503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Ту-214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МП10С2,5А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endParaRPr lang="ru-RU" sz="140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PF Centro Sans Pro" panose="02000500000000020004" pitchFamily="50" charset="0"/>
                        </a:rPr>
                        <a:t>Серийное</a:t>
                      </a:r>
                      <a:endParaRPr lang="ru-RU" sz="140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</a:tr>
              <a:tr h="296503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bg1"/>
                          </a:solidFill>
                          <a:effectLst/>
                          <a:latin typeface="PF Centro Sans Pro" panose="02000500000000020004" pitchFamily="50" charset="0"/>
                        </a:rPr>
                        <a:t>Ту-214</a:t>
                      </a:r>
                      <a:endParaRPr lang="ru-RU" sz="1400" dirty="0">
                        <a:solidFill>
                          <a:schemeClr val="bg1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PF Centro Sans Pro" panose="02000500000000020004" pitchFamily="50" charset="0"/>
                        </a:rPr>
                        <a:t>МП40С3А43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6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PF Centro Sans Pro" panose="02000500000000020004" pitchFamily="50" charset="0"/>
                        </a:rPr>
                        <a:t>Серийное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</a:tr>
              <a:tr h="296503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bg1"/>
                          </a:solidFill>
                          <a:effectLst/>
                          <a:latin typeface="PF Centro Sans Pro" panose="02000500000000020004" pitchFamily="50" charset="0"/>
                        </a:rPr>
                        <a:t>Ту-214</a:t>
                      </a:r>
                      <a:endParaRPr lang="ru-RU" sz="1400" dirty="0">
                        <a:solidFill>
                          <a:schemeClr val="bg1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PF Centro Sans Pro" panose="02000500000000020004" pitchFamily="50" charset="0"/>
                        </a:rPr>
                        <a:t>БК-90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PF Centro Sans Pro" panose="02000500000000020004" pitchFamily="50" charset="0"/>
                        </a:rPr>
                        <a:t>Серийное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</a:tr>
              <a:tr h="296503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Ту-214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МП4С2,5А23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1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PF Centro Sans Pro" panose="02000500000000020004" pitchFamily="50" charset="0"/>
                        </a:rPr>
                        <a:t>Серийное</a:t>
                      </a:r>
                      <a:endParaRPr lang="ru-RU" sz="140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</a:tr>
              <a:tr h="296503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Ту-214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МП4С10А04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PF Centro Sans Pro" panose="02000500000000020004" pitchFamily="50" charset="0"/>
                        </a:rPr>
                        <a:t>Серийное</a:t>
                      </a:r>
                      <a:endParaRPr lang="ru-RU" sz="140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</a:tr>
              <a:tr h="296503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Ту-214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МП10С2,5А04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Серийное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</a:tr>
              <a:tr h="296503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Ил-114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ДБ32-25-12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Серийное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</a:tr>
              <a:tr h="296503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Ил-114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ЭПК-6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Серийное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</a:tr>
              <a:tr h="296503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Ил-96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ДБ32-25-12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Серийное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</a:tr>
              <a:tr h="296503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Ил-96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АПД-10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1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Серийное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</a:tr>
              <a:tr h="296503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Ил-96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МП4С10А04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1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Серийное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</a:tr>
              <a:tr h="296503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Ил-96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БК-90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Серийное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</a:tr>
              <a:tr h="301354">
                <a:tc>
                  <a:txBody>
                    <a:bodyPr/>
                    <a:lstStyle/>
                    <a:p>
                      <a:pPr marL="0" marR="0" indent="0" algn="l" defTabSz="128016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chemeClr val="lt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"Байкал" (ЛМС-901) </a:t>
                      </a: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МП4С2,5А25</a:t>
                      </a:r>
                      <a:endParaRPr lang="ru-RU" sz="1400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128016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effectLst/>
                          <a:latin typeface="PF Centro Sans Pro" panose="02000500000000020004" pitchFamily="50" charset="0"/>
                        </a:rPr>
                        <a:t>Серийное</a:t>
                      </a:r>
                      <a:endParaRPr lang="ru-RU" sz="1400" dirty="0" smtClean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</a:tr>
              <a:tr h="309494">
                <a:tc>
                  <a:txBody>
                    <a:bodyPr/>
                    <a:lstStyle/>
                    <a:p>
                      <a:pPr marL="0" marR="0" indent="0" algn="l" defTabSz="128016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chemeClr val="lt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ТВРС-44 "Ладога"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latin typeface="PF Centro Sans Pro" panose="02000500000000020004" pitchFamily="50" charset="0"/>
                        </a:rPr>
                        <a:t>ТВРС-ЭПИ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ОКР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</a:tr>
              <a:tr h="309494">
                <a:tc>
                  <a:txBody>
                    <a:bodyPr/>
                    <a:lstStyle/>
                    <a:p>
                      <a:pPr marL="0" marR="0" indent="0" algn="l" defTabSz="128016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chemeClr val="lt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ТВРС-44 "Ладога"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ВРС-ЭПСУЗ</a:t>
                      </a:r>
                      <a:endParaRPr lang="ru-RU" sz="1400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400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КР</a:t>
                      </a:r>
                    </a:p>
                  </a:txBody>
                  <a:tcPr marL="62140" marR="62140" marT="0" marB="0" anchor="ctr"/>
                </a:tc>
              </a:tr>
              <a:tr h="309494">
                <a:tc>
                  <a:txBody>
                    <a:bodyPr/>
                    <a:lstStyle/>
                    <a:p>
                      <a:pPr marL="0" marR="0" indent="0" algn="l" defTabSz="128016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chemeClr val="lt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ТВРС-44 "Ладога"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П10С2,5А</a:t>
                      </a:r>
                      <a:endParaRPr lang="ru-RU" sz="1400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400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128016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ерийное</a:t>
                      </a:r>
                    </a:p>
                  </a:txBody>
                  <a:tcPr marL="62140" marR="62140" marT="0" marB="0" anchor="ctr"/>
                </a:tc>
              </a:tr>
              <a:tr h="309494">
                <a:tc>
                  <a:txBody>
                    <a:bodyPr/>
                    <a:lstStyle/>
                    <a:p>
                      <a:pPr marL="0" marR="0" indent="0" algn="l" defTabSz="128016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chemeClr val="lt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ТВРС-44 "Ладога"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П10С2,5А04 </a:t>
                      </a:r>
                      <a:endParaRPr lang="ru-RU" sz="1400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400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128016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ерийное</a:t>
                      </a:r>
                    </a:p>
                  </a:txBody>
                  <a:tcPr marL="62140" marR="62140" marT="0" marB="0" anchor="ctr"/>
                </a:tc>
              </a:tr>
              <a:tr h="309494">
                <a:tc>
                  <a:txBody>
                    <a:bodyPr/>
                    <a:lstStyle/>
                    <a:p>
                      <a:pPr marL="0" marR="0" indent="0" algn="l" defTabSz="128016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chemeClr val="lt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ТВРС-44 "Ладога"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П4С2,5А25</a:t>
                      </a:r>
                      <a:endParaRPr lang="ru-RU" sz="1400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400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128016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ерийное</a:t>
                      </a:r>
                    </a:p>
                  </a:txBody>
                  <a:tcPr marL="62140" marR="62140" marT="0" marB="0" anchor="ctr"/>
                </a:tc>
              </a:tr>
              <a:tr h="301354">
                <a:tc>
                  <a:txBody>
                    <a:bodyPr/>
                    <a:lstStyle/>
                    <a:p>
                      <a:pPr marL="0" marR="0" indent="0" algn="l" defTabSz="128016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chemeClr val="lt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ТВРС-44 "Ладога" </a:t>
                      </a: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ЭПК-6-1</a:t>
                      </a:r>
                      <a:endParaRPr lang="ru-RU" sz="1400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400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140" marR="6214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128016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ерийное</a:t>
                      </a:r>
                    </a:p>
                  </a:txBody>
                  <a:tcPr marL="62140" marR="62140" marT="0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10853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94268" y="-765063"/>
          <a:ext cx="1893" cy="18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47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494268" y="-765063"/>
                        <a:ext cx="1893" cy="18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492371" y="-766960"/>
            <a:ext cx="189373" cy="189373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432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5" name="Текст 2"/>
          <p:cNvSpPr>
            <a:spLocks noGrp="1"/>
          </p:cNvSpPr>
          <p:nvPr>
            <p:ph type="body" sz="quarter" idx="13"/>
          </p:nvPr>
        </p:nvSpPr>
        <p:spPr>
          <a:xfrm>
            <a:off x="587375" y="708273"/>
            <a:ext cx="11481671" cy="787898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ru-RU" sz="2000" b="1" dirty="0">
                <a:latin typeface="PF Centro Sans Pro" panose="02000500000000020004" pitchFamily="50" charset="0"/>
              </a:rPr>
              <a:t>Производственный </a:t>
            </a:r>
            <a:r>
              <a:rPr lang="ru-RU" sz="2000" b="1" dirty="0" smtClean="0">
                <a:latin typeface="PF Centro Sans Pro" panose="02000500000000020004" pitchFamily="50" charset="0"/>
              </a:rPr>
              <a:t>комплекс.</a:t>
            </a:r>
          </a:p>
          <a:p>
            <a:pPr marL="0" indent="0">
              <a:buNone/>
            </a:pPr>
            <a:r>
              <a:rPr lang="ru-RU" sz="2000" b="1" dirty="0" smtClean="0">
                <a:latin typeface="PF Centro Sans Pro" panose="02000500000000020004" pitchFamily="50" charset="0"/>
              </a:rPr>
              <a:t>Текущее состояние</a:t>
            </a:r>
            <a:endParaRPr lang="ru-RU" sz="2000" b="1" dirty="0">
              <a:latin typeface="PF Centro Sans Pro" panose="02000500000000020004" pitchFamily="50" charset="0"/>
            </a:endParaRPr>
          </a:p>
        </p:txBody>
      </p:sp>
      <p:sp>
        <p:nvSpPr>
          <p:cNvPr id="30" name="Rectangle 6"/>
          <p:cNvSpPr/>
          <p:nvPr/>
        </p:nvSpPr>
        <p:spPr>
          <a:xfrm>
            <a:off x="0" y="1711060"/>
            <a:ext cx="12801600" cy="123401"/>
          </a:xfrm>
          <a:prstGeom prst="rect">
            <a:avLst/>
          </a:prstGeom>
          <a:solidFill>
            <a:srgbClr val="5E85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5"/>
          </p:nvPr>
        </p:nvSpPr>
        <p:spPr>
          <a:xfrm>
            <a:off x="11024256" y="8984394"/>
            <a:ext cx="1454022" cy="511175"/>
          </a:xfrm>
        </p:spPr>
        <p:txBody>
          <a:bodyPr/>
          <a:lstStyle/>
          <a:p>
            <a:pPr algn="r"/>
            <a:fld id="{507BA088-F718-4C29-B79D-C60B6090533A}" type="datetime1">
              <a:rPr lang="ru-RU" sz="1600" smtClean="0">
                <a:solidFill>
                  <a:srgbClr val="40C4F4"/>
                </a:solidFill>
                <a:latin typeface="PF Centro Sans Pro" panose="02000500000000020004" pitchFamily="50" charset="0"/>
              </a:rPr>
              <a:t>28.11.2022</a:t>
            </a:fld>
            <a:endParaRPr lang="en-US" sz="1600" dirty="0">
              <a:solidFill>
                <a:srgbClr val="40C4F4"/>
              </a:solidFill>
              <a:latin typeface="PF Centro Sans Pro" panose="02000500000000020004" pitchFamily="50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6447" y="496066"/>
            <a:ext cx="3432048" cy="749808"/>
          </a:xfrm>
          <a:prstGeom prst="rect">
            <a:avLst/>
          </a:prstGeom>
        </p:spPr>
      </p:pic>
      <p:sp>
        <p:nvSpPr>
          <p:cNvPr id="8" name="Нижний колонтитул 7"/>
          <p:cNvSpPr>
            <a:spLocks noGrp="1"/>
          </p:cNvSpPr>
          <p:nvPr>
            <p:ph type="ftr" sz="quarter" idx="16"/>
          </p:nvPr>
        </p:nvSpPr>
        <p:spPr>
          <a:xfrm>
            <a:off x="455032" y="9085668"/>
            <a:ext cx="1826638" cy="382962"/>
          </a:xfrm>
        </p:spPr>
        <p:txBody>
          <a:bodyPr/>
          <a:lstStyle/>
          <a:p>
            <a:pPr algn="l"/>
            <a:r>
              <a:rPr lang="ru-RU" sz="2200" baseline="30000" dirty="0">
                <a:solidFill>
                  <a:srgbClr val="00B0F0"/>
                </a:solidFill>
                <a:latin typeface="PF Centro Sans Pro" panose="02000500000000020004" pitchFamily="50" charset="0"/>
              </a:rPr>
              <a:t>АО "Электропривод"</a:t>
            </a:r>
            <a:endParaRPr lang="en-US" sz="2200" baseline="30000" dirty="0">
              <a:solidFill>
                <a:srgbClr val="00B0F0"/>
              </a:solidFill>
              <a:latin typeface="PF Centro Sans Pro" panose="02000500000000020004" pitchFamily="50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6901699" y="2172375"/>
            <a:ext cx="566278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800" b="1" dirty="0">
                <a:solidFill>
                  <a:srgbClr val="000000"/>
                </a:solidFill>
                <a:latin typeface="PF Centro Sans Pro" panose="02000500000000020004" pitchFamily="50" charset="0"/>
                <a:ea typeface="+mj-ea"/>
                <a:cs typeface="Arial" panose="020B0604020202020204" pitchFamily="34" charset="0"/>
              </a:rPr>
              <a:t>Распределения основного оборудования с ЧПУ </a:t>
            </a:r>
          </a:p>
          <a:p>
            <a:pPr algn="ctr"/>
            <a:r>
              <a:rPr lang="ru-RU" sz="1800" b="1" dirty="0">
                <a:solidFill>
                  <a:srgbClr val="000000"/>
                </a:solidFill>
                <a:latin typeface="PF Centro Sans Pro" panose="02000500000000020004" pitchFamily="50" charset="0"/>
                <a:ea typeface="+mj-ea"/>
                <a:cs typeface="Arial" panose="020B0604020202020204" pitchFamily="34" charset="0"/>
              </a:rPr>
              <a:t>по возрасту в процентном отношении от общего его количества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569217" y="2299203"/>
            <a:ext cx="46968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800" b="1" dirty="0">
                <a:solidFill>
                  <a:srgbClr val="000000"/>
                </a:solidFill>
                <a:latin typeface="PF Centro Sans Pro" panose="02000500000000020004" pitchFamily="50" charset="0"/>
                <a:ea typeface="+mj-ea"/>
                <a:cs typeface="Arial" panose="020B0604020202020204" pitchFamily="34" charset="0"/>
              </a:rPr>
              <a:t>Распределения основного оборудования </a:t>
            </a:r>
            <a:r>
              <a:rPr lang="ru-RU" sz="1800" b="1" dirty="0" smtClean="0">
                <a:solidFill>
                  <a:srgbClr val="000000"/>
                </a:solidFill>
                <a:latin typeface="PF Centro Sans Pro" panose="02000500000000020004" pitchFamily="50" charset="0"/>
                <a:ea typeface="+mj-ea"/>
                <a:cs typeface="Arial" panose="020B0604020202020204" pitchFamily="34" charset="0"/>
              </a:rPr>
              <a:t>по возрасту</a:t>
            </a:r>
            <a:endParaRPr lang="ru-RU" sz="1800" b="1" dirty="0">
              <a:solidFill>
                <a:srgbClr val="000000"/>
              </a:solidFill>
              <a:latin typeface="PF Centro Sans Pro" panose="02000500000000020004" pitchFamily="50" charset="0"/>
              <a:ea typeface="+mj-ea"/>
              <a:cs typeface="Arial" panose="020B0604020202020204" pitchFamily="34" charset="0"/>
            </a:endParaRPr>
          </a:p>
        </p:txBody>
      </p:sp>
      <p:graphicFrame>
        <p:nvGraphicFramePr>
          <p:cNvPr id="16" name="Таблица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8316009"/>
              </p:ext>
            </p:extLst>
          </p:nvPr>
        </p:nvGraphicFramePr>
        <p:xfrm>
          <a:off x="7168378" y="3481430"/>
          <a:ext cx="5309900" cy="16589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823928"/>
                <a:gridCol w="2485972"/>
              </a:tblGrid>
              <a:tr h="33179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Arial" panose="020B0604020202020204" pitchFamily="34" charset="0"/>
                        </a:rPr>
                        <a:t>До 5 лет</a:t>
                      </a:r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Arial" panose="020B0604020202020204" pitchFamily="34" charset="0"/>
                        </a:rPr>
                        <a:t>8 %</a:t>
                      </a:r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E9EBF5"/>
                    </a:solidFill>
                  </a:tcPr>
                </a:tc>
              </a:tr>
              <a:tr h="33179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cs typeface="Arial" panose="020B0604020202020204" pitchFamily="34" charset="0"/>
                        </a:rPr>
                        <a:t>От 5 лет до 10 лет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Arial" panose="020B0604020202020204" pitchFamily="34" charset="0"/>
                        </a:rPr>
                        <a:t>18 %</a:t>
                      </a:r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E9EBF5"/>
                    </a:solidFill>
                  </a:tcPr>
                </a:tc>
              </a:tr>
              <a:tr h="33179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cs typeface="Arial" panose="020B0604020202020204" pitchFamily="34" charset="0"/>
                        </a:rPr>
                        <a:t>От 10 лет до 15 лет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Arial" panose="020B0604020202020204" pitchFamily="34" charset="0"/>
                        </a:rPr>
                        <a:t>12 %</a:t>
                      </a:r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E9EBF5"/>
                    </a:solidFill>
                  </a:tcPr>
                </a:tc>
              </a:tr>
              <a:tr h="33179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От 15 до 20 лет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Arial" panose="020B0604020202020204" pitchFamily="34" charset="0"/>
                        </a:rPr>
                        <a:t>7 %</a:t>
                      </a:r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</a:tr>
              <a:tr h="33179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Свыше 20 лет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Arial" panose="020B0604020202020204" pitchFamily="34" charset="0"/>
                        </a:rPr>
                        <a:t>55 %</a:t>
                      </a:r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9EBF5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8" name="Таблица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0664284"/>
              </p:ext>
            </p:extLst>
          </p:nvPr>
        </p:nvGraphicFramePr>
        <p:xfrm>
          <a:off x="587375" y="2945534"/>
          <a:ext cx="6171771" cy="5936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229967"/>
                <a:gridCol w="1977081"/>
                <a:gridCol w="1964723"/>
              </a:tblGrid>
              <a:tr h="57314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bg1"/>
                          </a:solidFill>
                          <a:effectLst/>
                          <a:latin typeface="PF Centro Sans Pro" panose="02000500000000020004" pitchFamily="50" charset="0"/>
                        </a:rPr>
                        <a:t>Наименование оборудования</a:t>
                      </a:r>
                      <a:endParaRPr lang="ru-RU" sz="1600" b="1" dirty="0">
                        <a:solidFill>
                          <a:schemeClr val="bg1"/>
                        </a:solidFill>
                        <a:effectLst/>
                        <a:latin typeface="PF Centro Sans Pro" panose="02000500000000020004" pitchFamily="50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rgbClr val="5E85C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bg1"/>
                          </a:solidFill>
                          <a:effectLst/>
                          <a:latin typeface="PF Centro Sans Pro" panose="02000500000000020004" pitchFamily="50" charset="0"/>
                        </a:rPr>
                        <a:t>Количество, ед.</a:t>
                      </a:r>
                      <a:endParaRPr lang="ru-RU" sz="1600" b="1" dirty="0">
                        <a:solidFill>
                          <a:schemeClr val="bg1"/>
                        </a:solidFill>
                        <a:effectLst/>
                        <a:latin typeface="PF Centro Sans Pro" panose="02000500000000020004" pitchFamily="50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rgbClr val="5E85C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bg1"/>
                          </a:solidFill>
                          <a:effectLst/>
                          <a:latin typeface="PF Centro Sans Pro" panose="02000500000000020004" pitchFamily="50" charset="0"/>
                        </a:rPr>
                        <a:t>Год выпуска</a:t>
                      </a:r>
                      <a:endParaRPr lang="ru-RU" sz="1600" b="1" dirty="0">
                        <a:solidFill>
                          <a:schemeClr val="bg1"/>
                        </a:solidFill>
                        <a:effectLst/>
                        <a:latin typeface="PF Centro Sans Pro" panose="02000500000000020004" pitchFamily="50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rgbClr val="5E85C4"/>
                    </a:solidFill>
                  </a:tcPr>
                </a:tc>
              </a:tr>
              <a:tr h="298512">
                <a:tc rowSpan="4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Токарные станки</a:t>
                      </a:r>
                    </a:p>
                  </a:txBody>
                  <a:tcPr marL="7620" marR="7620" marT="762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9</a:t>
                      </a:r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1962-1980</a:t>
                      </a:r>
                    </a:p>
                  </a:txBody>
                  <a:tcPr marL="0" marR="0" marT="0" marB="0" anchor="ctr">
                    <a:solidFill>
                      <a:srgbClr val="E9EBF5"/>
                    </a:solidFill>
                  </a:tcPr>
                </a:tc>
              </a:tr>
              <a:tr h="298512">
                <a:tc v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rgbClr val="E7D3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19</a:t>
                      </a:r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1980-1990</a:t>
                      </a:r>
                    </a:p>
                  </a:txBody>
                  <a:tcPr marL="0" marR="0" marT="0" marB="0" anchor="ctr">
                    <a:solidFill>
                      <a:srgbClr val="E9EBF5"/>
                    </a:solidFill>
                  </a:tcPr>
                </a:tc>
              </a:tr>
              <a:tr h="298512">
                <a:tc v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rgbClr val="E7D3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7 (из них 6 с ЧПУ)</a:t>
                      </a:r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1990-2015</a:t>
                      </a:r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rgbClr val="E9EBF5"/>
                    </a:solidFill>
                  </a:tcPr>
                </a:tc>
              </a:tr>
              <a:tr h="298512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kern="1200" dirty="0" smtClean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rgbClr val="E7D3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28016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2 </a:t>
                      </a:r>
                    </a:p>
                  </a:txBody>
                  <a:tcPr marL="7620" marR="7620" marT="762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2021</a:t>
                      </a:r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rgbClr val="E9EBF5"/>
                    </a:solidFill>
                  </a:tcPr>
                </a:tc>
              </a:tr>
              <a:tr h="286572">
                <a:tc rowSpan="4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Фрезерные станки</a:t>
                      </a:r>
                    </a:p>
                  </a:txBody>
                  <a:tcPr marL="0" marR="0" marT="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5</a:t>
                      </a:r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1961-1980</a:t>
                      </a:r>
                    </a:p>
                  </a:txBody>
                  <a:tcPr marL="0" marR="0" marT="0" marB="0" anchor="ctr">
                    <a:solidFill>
                      <a:srgbClr val="E9EBF5"/>
                    </a:solidFill>
                  </a:tcPr>
                </a:tc>
              </a:tr>
              <a:tr h="28657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solidFill>
                      <a:srgbClr val="E7D3E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8</a:t>
                      </a:r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1980-1990</a:t>
                      </a:r>
                    </a:p>
                  </a:txBody>
                  <a:tcPr marL="0" marR="0" marT="0" marB="0" anchor="ctr">
                    <a:solidFill>
                      <a:srgbClr val="E9EBF5"/>
                    </a:solidFill>
                  </a:tcPr>
                </a:tc>
              </a:tr>
              <a:tr h="14328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solidFill>
                      <a:srgbClr val="E7D3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2 (из них 2 с ЧПУ)</a:t>
                      </a:r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1990-2011</a:t>
                      </a:r>
                    </a:p>
                  </a:txBody>
                  <a:tcPr marL="0" marR="0" marT="0" marB="0" anchor="ctr">
                    <a:solidFill>
                      <a:srgbClr val="E9EBF5"/>
                    </a:solidFill>
                  </a:tcPr>
                </a:tc>
              </a:tr>
              <a:tr h="14328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1 (с ЧПУ)</a:t>
                      </a:r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2011-2021</a:t>
                      </a:r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rgbClr val="E9EBF5"/>
                    </a:solidFill>
                  </a:tcPr>
                </a:tc>
              </a:tr>
              <a:tr h="286572">
                <a:tc rowSpan="3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Сверлильные станки</a:t>
                      </a:r>
                    </a:p>
                  </a:txBody>
                  <a:tcPr marL="0" marR="0" marT="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2</a:t>
                      </a:r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1962-1990</a:t>
                      </a:r>
                    </a:p>
                  </a:txBody>
                  <a:tcPr marL="0" marR="0" marT="0" marB="0" anchor="ctr">
                    <a:solidFill>
                      <a:srgbClr val="E9EBF5"/>
                    </a:solidFill>
                  </a:tcPr>
                </a:tc>
              </a:tr>
              <a:tr h="14328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solidFill>
                      <a:srgbClr val="E7D3E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3</a:t>
                      </a:r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1990-2011</a:t>
                      </a:r>
                    </a:p>
                  </a:txBody>
                  <a:tcPr marL="0" marR="0" marT="0" marB="0" anchor="ctr">
                    <a:solidFill>
                      <a:srgbClr val="E9EBF5"/>
                    </a:solidFill>
                  </a:tcPr>
                </a:tc>
              </a:tr>
              <a:tr h="14328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2</a:t>
                      </a:r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2011-2021</a:t>
                      </a:r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rgbClr val="E9EBF5"/>
                    </a:solidFill>
                  </a:tcPr>
                </a:tc>
              </a:tr>
              <a:tr h="143286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Расточные станки</a:t>
                      </a:r>
                    </a:p>
                  </a:txBody>
                  <a:tcPr marL="0" marR="0" marT="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4 (из них 1 с ЧПУ)</a:t>
                      </a:r>
                    </a:p>
                  </a:txBody>
                  <a:tcPr marL="0" marR="0" marT="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1963-1990</a:t>
                      </a:r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rgbClr val="E9EBF5"/>
                    </a:solidFill>
                  </a:tcPr>
                </a:tc>
              </a:tr>
              <a:tr h="14328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1 (из них 1 с ЧПУ)</a:t>
                      </a:r>
                    </a:p>
                  </a:txBody>
                  <a:tcPr marL="0" marR="0" marT="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1990-2011</a:t>
                      </a:r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rgbClr val="E9EBF5"/>
                    </a:solidFill>
                  </a:tcPr>
                </a:tc>
              </a:tr>
              <a:tr h="286572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Шлифовальные</a:t>
                      </a:r>
                    </a:p>
                  </a:txBody>
                  <a:tcPr marL="0" marR="0" marT="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3</a:t>
                      </a:r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1962-1990</a:t>
                      </a:r>
                    </a:p>
                  </a:txBody>
                  <a:tcPr marL="0" marR="0" marT="0" marB="0" anchor="ctr">
                    <a:solidFill>
                      <a:srgbClr val="E9EBF5"/>
                    </a:solidFill>
                  </a:tcPr>
                </a:tc>
              </a:tr>
              <a:tr h="28657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solidFill>
                      <a:srgbClr val="E7D3E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4</a:t>
                      </a:r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1990-2002</a:t>
                      </a:r>
                    </a:p>
                  </a:txBody>
                  <a:tcPr marL="0" marR="0" marT="0" marB="0" anchor="ctr">
                    <a:solidFill>
                      <a:srgbClr val="E9EBF5"/>
                    </a:solidFill>
                  </a:tcPr>
                </a:tc>
              </a:tr>
              <a:tr h="14328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Зуборезные</a:t>
                      </a:r>
                    </a:p>
                  </a:txBody>
                  <a:tcPr marL="0" marR="0" marT="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8</a:t>
                      </a:r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1961-1987</a:t>
                      </a:r>
                    </a:p>
                  </a:txBody>
                  <a:tcPr marL="0" marR="0" marT="0" marB="0" anchor="ctr">
                    <a:solidFill>
                      <a:srgbClr val="E9EBF5"/>
                    </a:solidFill>
                  </a:tcPr>
                </a:tc>
              </a:tr>
              <a:tr h="121920">
                <a:tc rowSpan="2">
                  <a:txBody>
                    <a:bodyPr/>
                    <a:lstStyle/>
                    <a:p>
                      <a:pPr marL="0" marR="0" indent="0" algn="ctr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 err="1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Электроэррозионные</a:t>
                      </a:r>
                      <a:endParaRPr lang="ru-RU" sz="1600" kern="1200" dirty="0" smtClean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1 (с ЧПУ)</a:t>
                      </a:r>
                    </a:p>
                  </a:txBody>
                  <a:tcPr marL="0" marR="0" marT="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1990-2011</a:t>
                      </a:r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rgbClr val="E9EBF5"/>
                    </a:solidFill>
                  </a:tcPr>
                </a:tc>
              </a:tr>
              <a:tr h="12192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1 (с ЧПУ)</a:t>
                      </a:r>
                    </a:p>
                  </a:txBody>
                  <a:tcPr marL="0" marR="0" marT="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2011-2020</a:t>
                      </a:r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</a:tr>
              <a:tr h="121920">
                <a:tc>
                  <a:txBody>
                    <a:bodyPr/>
                    <a:lstStyle/>
                    <a:p>
                      <a:pPr marL="0" marR="0" indent="0" algn="ctr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Прочее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62</a:t>
                      </a:r>
                    </a:p>
                  </a:txBody>
                  <a:tcPr marL="0" marR="0" marT="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9EBF5"/>
                    </a:solidFill>
                  </a:tcPr>
                </a:tc>
              </a:tr>
              <a:tr h="29851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ВСЕГО:</a:t>
                      </a:r>
                      <a:endParaRPr lang="ru-RU" sz="1600" b="1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143</a:t>
                      </a:r>
                      <a:endParaRPr lang="ru-RU" sz="1600" b="1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b">
                    <a:solidFill>
                      <a:srgbClr val="E9EBF5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34948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94268" y="-765063"/>
          <a:ext cx="1893" cy="18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18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494268" y="-765063"/>
                        <a:ext cx="1893" cy="18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492371" y="-766960"/>
            <a:ext cx="189373" cy="189373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432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5" name="Текст 2"/>
          <p:cNvSpPr>
            <a:spLocks noGrp="1"/>
          </p:cNvSpPr>
          <p:nvPr>
            <p:ph type="body" sz="quarter" idx="13"/>
          </p:nvPr>
        </p:nvSpPr>
        <p:spPr>
          <a:xfrm>
            <a:off x="587375" y="708273"/>
            <a:ext cx="11481671" cy="787898"/>
          </a:xfrm>
        </p:spPr>
        <p:txBody>
          <a:bodyPr vert="horz" lIns="91440" tIns="45720" rIns="91440" bIns="45720" rtlCol="0">
            <a:noAutofit/>
          </a:bodyPr>
          <a:lstStyle/>
          <a:p>
            <a:pPr marL="0" indent="0">
              <a:buNone/>
            </a:pPr>
            <a:r>
              <a:rPr lang="ru-RU" sz="2000" b="1" noProof="1" smtClean="0">
                <a:latin typeface="PF Centro Sans Pro" panose="02000500000000020004" pitchFamily="50" charset="0"/>
              </a:rPr>
              <a:t>Текущие </a:t>
            </a:r>
            <a:r>
              <a:rPr lang="ru-RU" sz="2000" b="1" dirty="0" smtClean="0">
                <a:latin typeface="PF Centro Sans Pro" panose="02000500000000020004" pitchFamily="50" charset="0"/>
              </a:rPr>
              <a:t>производственные мощности предприятия.</a:t>
            </a:r>
          </a:p>
          <a:p>
            <a:pPr marL="0" indent="0">
              <a:buNone/>
            </a:pPr>
            <a:r>
              <a:rPr lang="ru-RU" sz="2000" b="1" noProof="1" smtClean="0">
                <a:latin typeface="PF Centro Sans Pro" panose="02000500000000020004" pitchFamily="50" charset="0"/>
              </a:rPr>
              <a:t>Технологические операции, выполняемые по аутсорсингу </a:t>
            </a:r>
            <a:endParaRPr lang="ru-RU" sz="2000" b="1" noProof="1">
              <a:latin typeface="PF Centro Sans Pro" panose="02000500000000020004" pitchFamily="50" charset="0"/>
            </a:endParaRPr>
          </a:p>
        </p:txBody>
      </p:sp>
      <p:sp>
        <p:nvSpPr>
          <p:cNvPr id="30" name="Rectangle 6"/>
          <p:cNvSpPr/>
          <p:nvPr/>
        </p:nvSpPr>
        <p:spPr>
          <a:xfrm>
            <a:off x="0" y="1711060"/>
            <a:ext cx="12801600" cy="123401"/>
          </a:xfrm>
          <a:prstGeom prst="rect">
            <a:avLst/>
          </a:prstGeom>
          <a:solidFill>
            <a:srgbClr val="5E85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5"/>
          </p:nvPr>
        </p:nvSpPr>
        <p:spPr>
          <a:xfrm>
            <a:off x="11024256" y="8984394"/>
            <a:ext cx="1454022" cy="511175"/>
          </a:xfrm>
        </p:spPr>
        <p:txBody>
          <a:bodyPr/>
          <a:lstStyle/>
          <a:p>
            <a:pPr algn="r"/>
            <a:fld id="{507BA088-F718-4C29-B79D-C60B6090533A}" type="datetime1">
              <a:rPr lang="ru-RU" sz="1600" smtClean="0">
                <a:solidFill>
                  <a:srgbClr val="40C4F4"/>
                </a:solidFill>
                <a:latin typeface="PF Centro Sans Pro" panose="02000500000000020004" pitchFamily="50" charset="0"/>
              </a:rPr>
              <a:t>28.11.2022</a:t>
            </a:fld>
            <a:endParaRPr lang="en-US" sz="1600" dirty="0">
              <a:solidFill>
                <a:srgbClr val="40C4F4"/>
              </a:solidFill>
              <a:latin typeface="PF Centro Sans Pro" panose="02000500000000020004" pitchFamily="50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6447" y="496066"/>
            <a:ext cx="3432048" cy="749808"/>
          </a:xfrm>
          <a:prstGeom prst="rect">
            <a:avLst/>
          </a:prstGeom>
        </p:spPr>
      </p:pic>
      <p:sp>
        <p:nvSpPr>
          <p:cNvPr id="8" name="Нижний колонтитул 7"/>
          <p:cNvSpPr>
            <a:spLocks noGrp="1"/>
          </p:cNvSpPr>
          <p:nvPr>
            <p:ph type="ftr" sz="quarter" idx="16"/>
          </p:nvPr>
        </p:nvSpPr>
        <p:spPr>
          <a:xfrm>
            <a:off x="455032" y="9085668"/>
            <a:ext cx="1826638" cy="382962"/>
          </a:xfrm>
        </p:spPr>
        <p:txBody>
          <a:bodyPr/>
          <a:lstStyle/>
          <a:p>
            <a:pPr algn="l"/>
            <a:r>
              <a:rPr lang="ru-RU" sz="2200" baseline="30000" dirty="0">
                <a:solidFill>
                  <a:srgbClr val="00B0F0"/>
                </a:solidFill>
                <a:latin typeface="PF Centro Sans Pro" panose="02000500000000020004" pitchFamily="50" charset="0"/>
              </a:rPr>
              <a:t>АО "Электропривод"</a:t>
            </a:r>
            <a:endParaRPr lang="en-US" sz="2200" baseline="30000" dirty="0">
              <a:solidFill>
                <a:srgbClr val="00B0F0"/>
              </a:solidFill>
              <a:latin typeface="PF Centro Sans Pro" panose="02000500000000020004" pitchFamily="50" charset="0"/>
            </a:endParaRPr>
          </a:p>
        </p:txBody>
      </p:sp>
      <p:sp>
        <p:nvSpPr>
          <p:cNvPr id="50" name="Rectangle 7"/>
          <p:cNvSpPr>
            <a:spLocks noChangeArrowheads="1"/>
          </p:cNvSpPr>
          <p:nvPr/>
        </p:nvSpPr>
        <p:spPr bwMode="auto">
          <a:xfrm>
            <a:off x="96698" y="3443993"/>
            <a:ext cx="184731" cy="5133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 sz="2736"/>
          </a:p>
        </p:txBody>
      </p:sp>
      <p:sp>
        <p:nvSpPr>
          <p:cNvPr id="2" name="Прямоугольник 1"/>
          <p:cNvSpPr/>
          <p:nvPr/>
        </p:nvSpPr>
        <p:spPr>
          <a:xfrm>
            <a:off x="455032" y="2119052"/>
            <a:ext cx="11926438" cy="65211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sz="1800" dirty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Особенность предприятия </a:t>
            </a:r>
            <a:r>
              <a:rPr lang="ru-RU" sz="1800" dirty="0" smtClean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в том</a:t>
            </a:r>
            <a:r>
              <a:rPr lang="ru-RU" sz="1800" dirty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, что </a:t>
            </a:r>
            <a:r>
              <a:rPr lang="ru-RU" sz="1800" dirty="0" smtClean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предприятие </a:t>
            </a:r>
            <a:r>
              <a:rPr lang="ru-RU" sz="1800" b="1" dirty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не полного технологического цикла</a:t>
            </a:r>
            <a:r>
              <a:rPr lang="ru-RU" sz="1800" dirty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endParaRPr lang="en-US" sz="1800" dirty="0" smtClean="0">
              <a:latin typeface="PF Centro Sans Pro" panose="02000500000000020004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sz="1800" dirty="0" smtClean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Следующие </a:t>
            </a:r>
            <a:r>
              <a:rPr lang="ru-RU" sz="1800" dirty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услуги и продукция выполняются по кооперации сторонними организациями:</a:t>
            </a:r>
            <a:endParaRPr lang="ru-RU" sz="1600" dirty="0">
              <a:latin typeface="PF Centro Sans Pro" panose="02000500000000020004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44500" lvl="0" indent="-444500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800" dirty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Термообработка (закалка, отжиг, нормализация и .т.д.)</a:t>
            </a:r>
            <a:endParaRPr lang="ru-RU" sz="1600" dirty="0">
              <a:latin typeface="PF Centro Sans Pro" panose="02000500000000020004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44500" lvl="0" indent="-444500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800" dirty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Азотирование, цементация</a:t>
            </a:r>
            <a:endParaRPr lang="ru-RU" sz="1600" dirty="0">
              <a:latin typeface="PF Centro Sans Pro" panose="02000500000000020004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44500" lvl="0" indent="-444500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800" dirty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Все виды гальванических покрытий</a:t>
            </a:r>
            <a:endParaRPr lang="ru-RU" sz="1600" dirty="0">
              <a:latin typeface="PF Centro Sans Pro" panose="02000500000000020004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44500" lvl="0" indent="-444500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800" dirty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Сварка</a:t>
            </a:r>
            <a:endParaRPr lang="ru-RU" sz="1600" dirty="0">
              <a:latin typeface="PF Centro Sans Pro" panose="02000500000000020004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44500" lvl="0" indent="-444500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800" dirty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Литье (под давлением, в кокиль, в землю, по выплавляемым моделям)</a:t>
            </a:r>
            <a:endParaRPr lang="ru-RU" sz="1600" dirty="0">
              <a:latin typeface="PF Centro Sans Pro" panose="02000500000000020004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44500" lvl="0" indent="-444500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800" dirty="0" err="1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Зубошлифовальная</a:t>
            </a:r>
            <a:endParaRPr lang="ru-RU" sz="1600" dirty="0">
              <a:latin typeface="PF Centro Sans Pro" panose="02000500000000020004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44500" lvl="0" indent="-444500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800" dirty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Зубодолбежная с длиной зуба более 38 мм</a:t>
            </a:r>
            <a:endParaRPr lang="ru-RU" sz="1600" dirty="0">
              <a:latin typeface="PF Centro Sans Pro" panose="02000500000000020004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44500" lvl="0" indent="-444500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800" dirty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Зубострогальная для конических колес с прямым зубом</a:t>
            </a:r>
            <a:endParaRPr lang="ru-RU" sz="1600" dirty="0">
              <a:latin typeface="PF Centro Sans Pro" panose="02000500000000020004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44500" lvl="0" indent="-444500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800" dirty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Заливка роторов алюминием</a:t>
            </a:r>
            <a:endParaRPr lang="ru-RU" sz="1600" dirty="0">
              <a:latin typeface="PF Centro Sans Pro" panose="02000500000000020004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44500" lvl="0" indent="-444500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800" dirty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Пайка медью в защитной среде</a:t>
            </a:r>
            <a:endParaRPr lang="ru-RU" sz="1600" dirty="0">
              <a:latin typeface="PF Centro Sans Pro" panose="02000500000000020004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44500" lvl="0" indent="-444500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800" dirty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Изготовление ДСЕ с </a:t>
            </a:r>
            <a:r>
              <a:rPr lang="ru-RU" sz="1800" dirty="0" err="1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бронзографитом</a:t>
            </a:r>
            <a:r>
              <a:rPr lang="ru-RU" sz="1800" dirty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 и ТФМ</a:t>
            </a:r>
            <a:endParaRPr lang="ru-RU" sz="1600" dirty="0">
              <a:latin typeface="PF Centro Sans Pro" panose="02000500000000020004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44500" lvl="0" indent="-444500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800" dirty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Навивка пружин</a:t>
            </a:r>
            <a:endParaRPr lang="ru-RU" sz="1600" dirty="0">
              <a:latin typeface="PF Centro Sans Pro" panose="02000500000000020004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44500" lvl="0" indent="-444500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800" dirty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Проверка магнитных свойств</a:t>
            </a:r>
            <a:endParaRPr lang="ru-RU" sz="1600" dirty="0">
              <a:latin typeface="PF Centro Sans Pro" panose="02000500000000020004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44500" lvl="0" indent="-444500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800" dirty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Магнитопорошковый контроль</a:t>
            </a:r>
            <a:endParaRPr lang="ru-RU" sz="1600" dirty="0">
              <a:latin typeface="PF Centro Sans Pro" panose="02000500000000020004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44500" lvl="0" indent="-444500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800" dirty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Проверка глубины азотированного и цементированного слоев</a:t>
            </a:r>
            <a:endParaRPr lang="ru-RU" sz="1600" dirty="0">
              <a:latin typeface="PF Centro Sans Pro" panose="02000500000000020004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44500" lvl="0" indent="-444500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800" dirty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Рентген контроль</a:t>
            </a:r>
            <a:endParaRPr lang="ru-RU" sz="1600" dirty="0">
              <a:latin typeface="PF Centro Sans Pro" panose="02000500000000020004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44500" lvl="0" indent="-444500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800" dirty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Зачистка заусенцев на листах статора и ротора</a:t>
            </a:r>
            <a:endParaRPr lang="ru-RU" sz="1600" dirty="0">
              <a:latin typeface="PF Centro Sans Pro" panose="02000500000000020004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44500" lvl="0" indent="-444500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800" dirty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Изготовление габаритных деталей на фрезерных обрабатывающих центрах (всевозможные угольники для испытательного оборудования</a:t>
            </a:r>
            <a:r>
              <a:rPr lang="ru-RU" sz="1800" dirty="0" smtClean="0">
                <a:latin typeface="PF Centro Sans Pro" panose="0200050000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endParaRPr lang="ru-RU" sz="1600" dirty="0">
              <a:latin typeface="PF Centro Sans Pro" panose="02000500000000020004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90034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94268" y="-765063"/>
          <a:ext cx="1893" cy="18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927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494268" y="-765063"/>
                        <a:ext cx="1893" cy="18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492371" y="-766960"/>
            <a:ext cx="189373" cy="189373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432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5" name="Текст 2"/>
          <p:cNvSpPr>
            <a:spLocks noGrp="1"/>
          </p:cNvSpPr>
          <p:nvPr>
            <p:ph type="body" sz="quarter" idx="13"/>
          </p:nvPr>
        </p:nvSpPr>
        <p:spPr>
          <a:xfrm>
            <a:off x="587375" y="708273"/>
            <a:ext cx="11481671" cy="787898"/>
          </a:xfrm>
        </p:spPr>
        <p:txBody>
          <a:bodyPr vert="horz" lIns="91440" tIns="45720" rIns="91440" bIns="45720" rtlCol="0">
            <a:noAutofit/>
          </a:bodyPr>
          <a:lstStyle/>
          <a:p>
            <a:pPr marL="0" indent="0">
              <a:buNone/>
            </a:pPr>
            <a:r>
              <a:rPr lang="ru-RU" sz="2000" b="1" noProof="1" smtClean="0">
                <a:latin typeface="PF Centro Sans Pro" panose="02000500000000020004" pitchFamily="50" charset="0"/>
              </a:rPr>
              <a:t>Испытательная </a:t>
            </a:r>
            <a:r>
              <a:rPr lang="ru-RU" sz="2000" b="1" dirty="0" smtClean="0">
                <a:latin typeface="PF Centro Sans Pro" panose="02000500000000020004" pitchFamily="50" charset="0"/>
              </a:rPr>
              <a:t>база.</a:t>
            </a:r>
          </a:p>
          <a:p>
            <a:pPr marL="0" indent="0">
              <a:buNone/>
            </a:pPr>
            <a:r>
              <a:rPr lang="ru-RU" sz="2000" b="1" noProof="1" smtClean="0">
                <a:latin typeface="PF Centro Sans Pro" panose="02000500000000020004" pitchFamily="50" charset="0"/>
              </a:rPr>
              <a:t>Текущее состояние</a:t>
            </a:r>
            <a:endParaRPr lang="ru-RU" sz="2000" b="1" noProof="1">
              <a:latin typeface="PF Centro Sans Pro" panose="02000500000000020004" pitchFamily="50" charset="0"/>
            </a:endParaRPr>
          </a:p>
        </p:txBody>
      </p:sp>
      <p:sp>
        <p:nvSpPr>
          <p:cNvPr id="30" name="Rectangle 6"/>
          <p:cNvSpPr/>
          <p:nvPr/>
        </p:nvSpPr>
        <p:spPr>
          <a:xfrm>
            <a:off x="0" y="1711060"/>
            <a:ext cx="12801600" cy="123401"/>
          </a:xfrm>
          <a:prstGeom prst="rect">
            <a:avLst/>
          </a:prstGeom>
          <a:solidFill>
            <a:srgbClr val="5E85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5"/>
          </p:nvPr>
        </p:nvSpPr>
        <p:spPr>
          <a:xfrm>
            <a:off x="11024256" y="8984394"/>
            <a:ext cx="1454022" cy="511175"/>
          </a:xfrm>
        </p:spPr>
        <p:txBody>
          <a:bodyPr/>
          <a:lstStyle/>
          <a:p>
            <a:pPr algn="r"/>
            <a:fld id="{507BA088-F718-4C29-B79D-C60B6090533A}" type="datetime1">
              <a:rPr lang="ru-RU" sz="1600" smtClean="0">
                <a:solidFill>
                  <a:srgbClr val="40C4F4"/>
                </a:solidFill>
                <a:latin typeface="PF Centro Sans Pro" panose="02000500000000020004" pitchFamily="50" charset="0"/>
              </a:rPr>
              <a:t>28.11.2022</a:t>
            </a:fld>
            <a:endParaRPr lang="en-US" sz="1600" dirty="0">
              <a:solidFill>
                <a:srgbClr val="40C4F4"/>
              </a:solidFill>
              <a:latin typeface="PF Centro Sans Pro" panose="02000500000000020004" pitchFamily="50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6447" y="496066"/>
            <a:ext cx="3432048" cy="749808"/>
          </a:xfrm>
          <a:prstGeom prst="rect">
            <a:avLst/>
          </a:prstGeom>
        </p:spPr>
      </p:pic>
      <p:sp>
        <p:nvSpPr>
          <p:cNvPr id="8" name="Нижний колонтитул 7"/>
          <p:cNvSpPr>
            <a:spLocks noGrp="1"/>
          </p:cNvSpPr>
          <p:nvPr>
            <p:ph type="ftr" sz="quarter" idx="16"/>
          </p:nvPr>
        </p:nvSpPr>
        <p:spPr>
          <a:xfrm>
            <a:off x="455032" y="9085668"/>
            <a:ext cx="1826638" cy="382962"/>
          </a:xfrm>
        </p:spPr>
        <p:txBody>
          <a:bodyPr/>
          <a:lstStyle/>
          <a:p>
            <a:pPr algn="l"/>
            <a:r>
              <a:rPr lang="ru-RU" sz="2200" baseline="30000" dirty="0">
                <a:solidFill>
                  <a:srgbClr val="00B0F0"/>
                </a:solidFill>
                <a:latin typeface="PF Centro Sans Pro" panose="02000500000000020004" pitchFamily="50" charset="0"/>
              </a:rPr>
              <a:t>АО "Электропривод"</a:t>
            </a:r>
            <a:endParaRPr lang="en-US" sz="2200" baseline="30000" dirty="0">
              <a:solidFill>
                <a:srgbClr val="00B0F0"/>
              </a:solidFill>
              <a:latin typeface="PF Centro Sans Pro" panose="02000500000000020004" pitchFamily="50" charset="0"/>
            </a:endParaRPr>
          </a:p>
        </p:txBody>
      </p:sp>
      <p:sp>
        <p:nvSpPr>
          <p:cNvPr id="50" name="Rectangle 7"/>
          <p:cNvSpPr>
            <a:spLocks noChangeArrowheads="1"/>
          </p:cNvSpPr>
          <p:nvPr/>
        </p:nvSpPr>
        <p:spPr bwMode="auto">
          <a:xfrm>
            <a:off x="96698" y="3443993"/>
            <a:ext cx="184731" cy="5133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 sz="2736"/>
          </a:p>
        </p:txBody>
      </p:sp>
      <p:sp>
        <p:nvSpPr>
          <p:cNvPr id="14" name="Прямоугольник 13"/>
          <p:cNvSpPr/>
          <p:nvPr/>
        </p:nvSpPr>
        <p:spPr>
          <a:xfrm>
            <a:off x="6901699" y="2295253"/>
            <a:ext cx="566278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800" b="1" dirty="0">
                <a:solidFill>
                  <a:srgbClr val="000000"/>
                </a:solidFill>
                <a:latin typeface="PF Centro Sans Pro" panose="02000500000000020004" pitchFamily="50" charset="0"/>
                <a:ea typeface="+mj-ea"/>
                <a:cs typeface="Arial" panose="020B0604020202020204" pitchFamily="34" charset="0"/>
              </a:rPr>
              <a:t>Распределения </a:t>
            </a:r>
            <a:r>
              <a:rPr lang="ru-RU" sz="1800" b="1" dirty="0">
                <a:solidFill>
                  <a:srgbClr val="000000"/>
                </a:solidFill>
                <a:latin typeface="PF Centro Sans Pro" panose="02000500000000020004" pitchFamily="50" charset="0"/>
                <a:cs typeface="Arial" panose="020B0604020202020204" pitchFamily="34" charset="0"/>
              </a:rPr>
              <a:t>испытательного</a:t>
            </a:r>
            <a:r>
              <a:rPr lang="ru-RU" sz="1800" b="1" dirty="0" smtClean="0">
                <a:solidFill>
                  <a:srgbClr val="000000"/>
                </a:solidFill>
                <a:latin typeface="PF Centro Sans Pro" panose="02000500000000020004" pitchFamily="50" charset="0"/>
                <a:ea typeface="+mj-ea"/>
                <a:cs typeface="Arial" panose="020B0604020202020204" pitchFamily="34" charset="0"/>
              </a:rPr>
              <a:t> оборудования</a:t>
            </a:r>
            <a:endParaRPr lang="ru-RU" sz="1800" b="1" dirty="0">
              <a:solidFill>
                <a:srgbClr val="000000"/>
              </a:solidFill>
              <a:latin typeface="PF Centro Sans Pro" panose="02000500000000020004" pitchFamily="50" charset="0"/>
              <a:ea typeface="+mj-ea"/>
              <a:cs typeface="Arial" panose="020B0604020202020204" pitchFamily="34" charset="0"/>
            </a:endParaRPr>
          </a:p>
          <a:p>
            <a:pPr algn="ctr"/>
            <a:r>
              <a:rPr lang="ru-RU" sz="1800" b="1" dirty="0">
                <a:solidFill>
                  <a:srgbClr val="000000"/>
                </a:solidFill>
                <a:latin typeface="PF Centro Sans Pro" panose="02000500000000020004" pitchFamily="50" charset="0"/>
                <a:ea typeface="+mj-ea"/>
                <a:cs typeface="Arial" panose="020B0604020202020204" pitchFamily="34" charset="0"/>
              </a:rPr>
              <a:t>по возрасту в процентном отношении от общего его количества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569217" y="2299203"/>
            <a:ext cx="46968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800" b="1" dirty="0">
                <a:solidFill>
                  <a:srgbClr val="000000"/>
                </a:solidFill>
                <a:latin typeface="PF Centro Sans Pro" panose="02000500000000020004" pitchFamily="50" charset="0"/>
                <a:ea typeface="+mj-ea"/>
                <a:cs typeface="Arial" panose="020B0604020202020204" pitchFamily="34" charset="0"/>
              </a:rPr>
              <a:t>Распределения </a:t>
            </a:r>
            <a:r>
              <a:rPr lang="ru-RU" sz="1800" b="1" dirty="0" smtClean="0">
                <a:solidFill>
                  <a:srgbClr val="000000"/>
                </a:solidFill>
                <a:latin typeface="PF Centro Sans Pro" panose="02000500000000020004" pitchFamily="50" charset="0"/>
                <a:ea typeface="+mj-ea"/>
                <a:cs typeface="Arial" panose="020B0604020202020204" pitchFamily="34" charset="0"/>
              </a:rPr>
              <a:t>испытательного </a:t>
            </a:r>
            <a:r>
              <a:rPr lang="ru-RU" sz="1800" b="1" dirty="0">
                <a:solidFill>
                  <a:srgbClr val="000000"/>
                </a:solidFill>
                <a:latin typeface="PF Centro Sans Pro" panose="02000500000000020004" pitchFamily="50" charset="0"/>
                <a:ea typeface="+mj-ea"/>
                <a:cs typeface="Arial" panose="020B0604020202020204" pitchFamily="34" charset="0"/>
              </a:rPr>
              <a:t>оборудования </a:t>
            </a:r>
            <a:r>
              <a:rPr lang="ru-RU" sz="1800" b="1" dirty="0" smtClean="0">
                <a:solidFill>
                  <a:srgbClr val="000000"/>
                </a:solidFill>
                <a:latin typeface="PF Centro Sans Pro" panose="02000500000000020004" pitchFamily="50" charset="0"/>
                <a:ea typeface="+mj-ea"/>
                <a:cs typeface="Arial" panose="020B0604020202020204" pitchFamily="34" charset="0"/>
              </a:rPr>
              <a:t>по возрасту</a:t>
            </a:r>
            <a:endParaRPr lang="ru-RU" sz="1800" b="1" dirty="0">
              <a:solidFill>
                <a:srgbClr val="000000"/>
              </a:solidFill>
              <a:latin typeface="PF Centro Sans Pro" panose="02000500000000020004" pitchFamily="50" charset="0"/>
              <a:ea typeface="+mj-ea"/>
              <a:cs typeface="Arial" panose="020B0604020202020204" pitchFamily="34" charset="0"/>
            </a:endParaRPr>
          </a:p>
        </p:txBody>
      </p:sp>
      <p:graphicFrame>
        <p:nvGraphicFramePr>
          <p:cNvPr id="16" name="Таблица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6155079"/>
              </p:ext>
            </p:extLst>
          </p:nvPr>
        </p:nvGraphicFramePr>
        <p:xfrm>
          <a:off x="7168378" y="3557332"/>
          <a:ext cx="5309900" cy="126848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823928"/>
                <a:gridCol w="2485972"/>
              </a:tblGrid>
              <a:tr h="31712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Arial" panose="020B0604020202020204" pitchFamily="34" charset="0"/>
                        </a:rPr>
                        <a:t>до 5 лет</a:t>
                      </a:r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Arial" panose="020B0604020202020204" pitchFamily="34" charset="0"/>
                        </a:rPr>
                        <a:t>19 %</a:t>
                      </a:r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E9EBF5"/>
                    </a:solidFill>
                  </a:tcPr>
                </a:tc>
              </a:tr>
              <a:tr h="31712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cs typeface="Arial" panose="020B0604020202020204" pitchFamily="34" charset="0"/>
                        </a:rPr>
                        <a:t>От 5 лет до 10 лет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Arial" panose="020B0604020202020204" pitchFamily="34" charset="0"/>
                        </a:rPr>
                        <a:t>4,8 %</a:t>
                      </a:r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E9EBF5"/>
                    </a:solidFill>
                  </a:tcPr>
                </a:tc>
              </a:tr>
              <a:tr h="31712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cs typeface="Arial" panose="020B0604020202020204" pitchFamily="34" charset="0"/>
                        </a:rPr>
                        <a:t>от 10 лет до 20 лет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Arial" panose="020B0604020202020204" pitchFamily="34" charset="0"/>
                        </a:rPr>
                        <a:t>0 %</a:t>
                      </a:r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E9EBF5"/>
                    </a:solidFill>
                  </a:tcPr>
                </a:tc>
              </a:tr>
              <a:tr h="31712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PF Centro Sans Pro" panose="02000500000000020004" pitchFamily="50" charset="0"/>
                          <a:cs typeface="Arial" panose="020B0604020202020204" pitchFamily="34" charset="0"/>
                        </a:rPr>
                        <a:t>свыше 20 лет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Arial" panose="020B0604020202020204" pitchFamily="34" charset="0"/>
                        </a:rPr>
                        <a:t>76,2%</a:t>
                      </a:r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E9EBF5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7" name="Таблица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9071128"/>
              </p:ext>
            </p:extLst>
          </p:nvPr>
        </p:nvGraphicFramePr>
        <p:xfrm>
          <a:off x="587374" y="3214043"/>
          <a:ext cx="6171771" cy="434572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229967"/>
                <a:gridCol w="1977081"/>
                <a:gridCol w="1964723"/>
              </a:tblGrid>
              <a:tr h="57314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bg1"/>
                          </a:solidFill>
                          <a:effectLst/>
                          <a:latin typeface="PF Centro Sans Pro" panose="02000500000000020004" pitchFamily="50" charset="0"/>
                        </a:rPr>
                        <a:t>Наименование оборудования</a:t>
                      </a:r>
                      <a:endParaRPr lang="ru-RU" sz="1600" b="1" dirty="0">
                        <a:solidFill>
                          <a:schemeClr val="bg1"/>
                        </a:solidFill>
                        <a:effectLst/>
                        <a:latin typeface="PF Centro Sans Pro" panose="02000500000000020004" pitchFamily="50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rgbClr val="5E85C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bg1"/>
                          </a:solidFill>
                          <a:effectLst/>
                          <a:latin typeface="PF Centro Sans Pro" panose="02000500000000020004" pitchFamily="50" charset="0"/>
                        </a:rPr>
                        <a:t>Количество, ед.</a:t>
                      </a:r>
                      <a:endParaRPr lang="ru-RU" sz="1600" b="1" dirty="0">
                        <a:solidFill>
                          <a:schemeClr val="bg1"/>
                        </a:solidFill>
                        <a:effectLst/>
                        <a:latin typeface="PF Centro Sans Pro" panose="02000500000000020004" pitchFamily="50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rgbClr val="5E85C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bg1"/>
                          </a:solidFill>
                          <a:effectLst/>
                          <a:latin typeface="PF Centro Sans Pro" panose="02000500000000020004" pitchFamily="50" charset="0"/>
                        </a:rPr>
                        <a:t>Год выпуска</a:t>
                      </a:r>
                      <a:endParaRPr lang="ru-RU" sz="1600" b="1" dirty="0">
                        <a:solidFill>
                          <a:schemeClr val="bg1"/>
                        </a:solidFill>
                        <a:effectLst/>
                        <a:latin typeface="PF Centro Sans Pro" panose="02000500000000020004" pitchFamily="50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rgbClr val="5E85C4"/>
                    </a:solidFill>
                  </a:tcPr>
                </a:tc>
              </a:tr>
              <a:tr h="298512">
                <a:tc rowSpan="4">
                  <a:txBody>
                    <a:bodyPr/>
                    <a:lstStyle/>
                    <a:p>
                      <a:pPr marL="0" marR="0" indent="0" algn="ctr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Испытания на воздействия механических факторов</a:t>
                      </a:r>
                    </a:p>
                  </a:txBody>
                  <a:tcPr marL="7620" marR="7620" marT="762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-</a:t>
                      </a:r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1965-1980</a:t>
                      </a:r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rgbClr val="E9EBF5"/>
                    </a:solidFill>
                  </a:tcPr>
                </a:tc>
              </a:tr>
              <a:tr h="298512">
                <a:tc v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rgbClr val="E7D3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2</a:t>
                      </a:r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1980-1990</a:t>
                      </a:r>
                    </a:p>
                  </a:txBody>
                  <a:tcPr marL="0" marR="0" marT="0" marB="0" anchor="ctr">
                    <a:solidFill>
                      <a:srgbClr val="E9EBF5"/>
                    </a:solidFill>
                  </a:tcPr>
                </a:tc>
              </a:tr>
              <a:tr h="298512">
                <a:tc v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rgbClr val="E7D3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1</a:t>
                      </a:r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1990-2011</a:t>
                      </a:r>
                    </a:p>
                  </a:txBody>
                  <a:tcPr marL="0" marR="0" marT="0" marB="0" anchor="ctr">
                    <a:solidFill>
                      <a:srgbClr val="E9EBF5"/>
                    </a:solidFill>
                  </a:tcPr>
                </a:tc>
              </a:tr>
              <a:tr h="298512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kern="1200" dirty="0" smtClean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rgbClr val="E7D3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28016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7620" marR="7620" marT="762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2011-2021</a:t>
                      </a:r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rgbClr val="E9EBF5"/>
                    </a:solidFill>
                  </a:tcPr>
                </a:tc>
              </a:tr>
              <a:tr h="286572">
                <a:tc rowSpan="4">
                  <a:txBody>
                    <a:bodyPr/>
                    <a:lstStyle/>
                    <a:p>
                      <a:pPr marL="0" marR="0" indent="0" algn="ctr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Испытания на воздействия климатических факторов</a:t>
                      </a:r>
                    </a:p>
                  </a:txBody>
                  <a:tcPr marL="0" marR="0" marT="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5</a:t>
                      </a:r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1965-1980</a:t>
                      </a:r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rgbClr val="E9EBF5"/>
                    </a:solidFill>
                  </a:tcPr>
                </a:tc>
              </a:tr>
              <a:tr h="28657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solidFill>
                      <a:srgbClr val="E7D3E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6</a:t>
                      </a:r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1980-1990</a:t>
                      </a:r>
                    </a:p>
                  </a:txBody>
                  <a:tcPr marL="0" marR="0" marT="0" marB="0" anchor="ctr">
                    <a:solidFill>
                      <a:srgbClr val="E9EBF5"/>
                    </a:solidFill>
                  </a:tcPr>
                </a:tc>
              </a:tr>
              <a:tr h="14328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solidFill>
                      <a:srgbClr val="E7D3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2</a:t>
                      </a:r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1990-2011</a:t>
                      </a:r>
                    </a:p>
                  </a:txBody>
                  <a:tcPr marL="0" marR="0" marT="0" marB="0" anchor="ctr">
                    <a:solidFill>
                      <a:srgbClr val="E9EBF5"/>
                    </a:solidFill>
                  </a:tcPr>
                </a:tc>
              </a:tr>
              <a:tr h="14328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2</a:t>
                      </a:r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2011-2021</a:t>
                      </a:r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rgbClr val="E9EBF5"/>
                    </a:solidFill>
                  </a:tcPr>
                </a:tc>
              </a:tr>
              <a:tr h="286572">
                <a:tc rowSpan="3">
                  <a:txBody>
                    <a:bodyPr/>
                    <a:lstStyle/>
                    <a:p>
                      <a:pPr marL="0" marR="0" indent="0" algn="ctr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Испытания на воздействия электрического напряжения, тока или поля</a:t>
                      </a:r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-</a:t>
                      </a:r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1965-1990</a:t>
                      </a:r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rgbClr val="E9EBF5"/>
                    </a:solidFill>
                  </a:tcPr>
                </a:tc>
              </a:tr>
              <a:tr h="14328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solidFill>
                      <a:srgbClr val="E7D3E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-</a:t>
                      </a:r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1990-2011</a:t>
                      </a:r>
                    </a:p>
                  </a:txBody>
                  <a:tcPr marL="0" marR="0" marT="0" marB="0" anchor="ctr">
                    <a:solidFill>
                      <a:srgbClr val="E9EBF5"/>
                    </a:solidFill>
                  </a:tcPr>
                </a:tc>
              </a:tr>
              <a:tr h="18957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1</a:t>
                      </a:r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2011-2021</a:t>
                      </a:r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rgbClr val="E9EBF5"/>
                    </a:solidFill>
                  </a:tcPr>
                </a:tc>
              </a:tr>
              <a:tr h="29851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ВСЕГО:</a:t>
                      </a:r>
                      <a:endParaRPr lang="ru-RU" sz="1600" b="1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21</a:t>
                      </a:r>
                      <a:endParaRPr lang="ru-RU" sz="1600" b="1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b">
                    <a:solidFill>
                      <a:srgbClr val="E9EBF5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777099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94268" y="-765063"/>
          <a:ext cx="1893" cy="18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314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494268" y="-765063"/>
                        <a:ext cx="1893" cy="18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492371" y="-766960"/>
            <a:ext cx="189373" cy="189373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432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5" name="Текст 2"/>
          <p:cNvSpPr>
            <a:spLocks noGrp="1"/>
          </p:cNvSpPr>
          <p:nvPr>
            <p:ph type="body" sz="quarter" idx="13"/>
          </p:nvPr>
        </p:nvSpPr>
        <p:spPr>
          <a:xfrm>
            <a:off x="584923" y="760059"/>
            <a:ext cx="11481671" cy="787898"/>
          </a:xfrm>
        </p:spPr>
        <p:txBody>
          <a:bodyPr vert="horz" lIns="91440" tIns="45720" rIns="91440" bIns="45720" rtlCol="0">
            <a:noAutofit/>
          </a:bodyPr>
          <a:lstStyle/>
          <a:p>
            <a:pPr marL="0" indent="0">
              <a:buNone/>
            </a:pPr>
            <a:r>
              <a:rPr lang="ru-RU" sz="2000" b="1" noProof="1" smtClean="0">
                <a:latin typeface="PF Centro Sans Pro" panose="02000500000000020004" pitchFamily="50" charset="0"/>
              </a:rPr>
              <a:t>Текущие </a:t>
            </a:r>
            <a:r>
              <a:rPr lang="ru-RU" sz="2000" b="1" dirty="0" smtClean="0">
                <a:latin typeface="PF Centro Sans Pro" panose="02000500000000020004" pitchFamily="50" charset="0"/>
              </a:rPr>
              <a:t>производственные возможности предприятия</a:t>
            </a:r>
            <a:endParaRPr lang="ru-RU" sz="2000" b="1" noProof="1">
              <a:latin typeface="PF Centro Sans Pro" panose="02000500000000020004" pitchFamily="50" charset="0"/>
            </a:endParaRPr>
          </a:p>
        </p:txBody>
      </p:sp>
      <p:sp>
        <p:nvSpPr>
          <p:cNvPr id="30" name="Rectangle 6"/>
          <p:cNvSpPr/>
          <p:nvPr/>
        </p:nvSpPr>
        <p:spPr>
          <a:xfrm>
            <a:off x="0" y="1711060"/>
            <a:ext cx="12801600" cy="123401"/>
          </a:xfrm>
          <a:prstGeom prst="rect">
            <a:avLst/>
          </a:prstGeom>
          <a:solidFill>
            <a:srgbClr val="5E85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5"/>
          </p:nvPr>
        </p:nvSpPr>
        <p:spPr>
          <a:xfrm>
            <a:off x="11024256" y="8984394"/>
            <a:ext cx="1454022" cy="511175"/>
          </a:xfrm>
        </p:spPr>
        <p:txBody>
          <a:bodyPr/>
          <a:lstStyle/>
          <a:p>
            <a:pPr algn="r"/>
            <a:fld id="{507BA088-F718-4C29-B79D-C60B6090533A}" type="datetime1">
              <a:rPr lang="ru-RU" sz="1600" smtClean="0">
                <a:solidFill>
                  <a:srgbClr val="40C4F4"/>
                </a:solidFill>
                <a:latin typeface="PF Centro Sans Pro" panose="02000500000000020004" pitchFamily="50" charset="0"/>
              </a:rPr>
              <a:t>28.11.2022</a:t>
            </a:fld>
            <a:endParaRPr lang="en-US" sz="1600" dirty="0">
              <a:solidFill>
                <a:srgbClr val="40C4F4"/>
              </a:solidFill>
              <a:latin typeface="PF Centro Sans Pro" panose="02000500000000020004" pitchFamily="50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6447" y="496066"/>
            <a:ext cx="3432048" cy="749808"/>
          </a:xfrm>
          <a:prstGeom prst="rect">
            <a:avLst/>
          </a:prstGeom>
        </p:spPr>
      </p:pic>
      <p:sp>
        <p:nvSpPr>
          <p:cNvPr id="8" name="Нижний колонтитул 7"/>
          <p:cNvSpPr>
            <a:spLocks noGrp="1"/>
          </p:cNvSpPr>
          <p:nvPr>
            <p:ph type="ftr" sz="quarter" idx="16"/>
          </p:nvPr>
        </p:nvSpPr>
        <p:spPr>
          <a:xfrm>
            <a:off x="455032" y="9085668"/>
            <a:ext cx="1826638" cy="382962"/>
          </a:xfrm>
        </p:spPr>
        <p:txBody>
          <a:bodyPr/>
          <a:lstStyle/>
          <a:p>
            <a:pPr algn="l"/>
            <a:r>
              <a:rPr lang="ru-RU" sz="2200" baseline="30000" dirty="0">
                <a:solidFill>
                  <a:srgbClr val="00B0F0"/>
                </a:solidFill>
                <a:latin typeface="PF Centro Sans Pro" panose="02000500000000020004" pitchFamily="50" charset="0"/>
              </a:rPr>
              <a:t>АО "Электропривод"</a:t>
            </a:r>
            <a:endParaRPr lang="en-US" sz="2200" baseline="30000" dirty="0">
              <a:solidFill>
                <a:srgbClr val="00B0F0"/>
              </a:solidFill>
              <a:latin typeface="PF Centro Sans Pro" panose="02000500000000020004" pitchFamily="50" charset="0"/>
            </a:endParaRPr>
          </a:p>
        </p:txBody>
      </p:sp>
      <p:sp>
        <p:nvSpPr>
          <p:cNvPr id="50" name="Rectangle 7"/>
          <p:cNvSpPr>
            <a:spLocks noChangeArrowheads="1"/>
          </p:cNvSpPr>
          <p:nvPr/>
        </p:nvSpPr>
        <p:spPr bwMode="auto">
          <a:xfrm>
            <a:off x="96698" y="3443993"/>
            <a:ext cx="184731" cy="5133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 sz="2736"/>
          </a:p>
        </p:txBody>
      </p:sp>
      <p:sp>
        <p:nvSpPr>
          <p:cNvPr id="3" name="Прямоугольник 2"/>
          <p:cNvSpPr/>
          <p:nvPr/>
        </p:nvSpPr>
        <p:spPr>
          <a:xfrm>
            <a:off x="389177" y="1997564"/>
            <a:ext cx="1202324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800" dirty="0">
                <a:latin typeface="PF Centro Sans Pro" panose="02000500000000020004" pitchFamily="50" charset="0"/>
                <a:ea typeface="Calibri" panose="020F0502020204030204" pitchFamily="34" charset="0"/>
              </a:rPr>
              <a:t>По состоянию на </a:t>
            </a:r>
            <a:r>
              <a:rPr lang="ru-RU" sz="1800" dirty="0" smtClean="0">
                <a:latin typeface="PF Centro Sans Pro" panose="02000500000000020004" pitchFamily="50" charset="0"/>
                <a:ea typeface="Calibri" panose="020F0502020204030204" pitchFamily="34" charset="0"/>
              </a:rPr>
              <a:t>первое полугодие </a:t>
            </a:r>
            <a:r>
              <a:rPr lang="ru-RU" sz="1800" dirty="0">
                <a:latin typeface="PF Centro Sans Pro" panose="02000500000000020004" pitchFamily="50" charset="0"/>
                <a:ea typeface="Calibri" panose="020F0502020204030204" pitchFamily="34" charset="0"/>
              </a:rPr>
              <a:t>2022 года АО "Электропривод" на имеющихся производственных мощностях, без учета дополнительных инвестиций, может изготавливать количество </a:t>
            </a:r>
            <a:r>
              <a:rPr lang="ru-RU" sz="1800" b="1" dirty="0" smtClean="0">
                <a:latin typeface="PF Centro Sans Pro" panose="02000500000000020004" pitchFamily="50" charset="0"/>
                <a:ea typeface="Calibri" panose="020F0502020204030204" pitchFamily="34" charset="0"/>
              </a:rPr>
              <a:t>комплектов</a:t>
            </a:r>
            <a:r>
              <a:rPr lang="ru-RU" sz="1800" dirty="0">
                <a:latin typeface="PF Centro Sans Pro" panose="02000500000000020004" pitchFamily="50" charset="0"/>
                <a:ea typeface="Calibri" panose="020F0502020204030204" pitchFamily="34" charset="0"/>
              </a:rPr>
              <a:t>, </a:t>
            </a:r>
            <a:r>
              <a:rPr lang="ru-RU" sz="1800" dirty="0" smtClean="0">
                <a:latin typeface="PF Centro Sans Pro" panose="02000500000000020004" pitchFamily="50" charset="0"/>
                <a:ea typeface="Calibri" panose="020F0502020204030204" pitchFamily="34" charset="0"/>
              </a:rPr>
              <a:t>представленное </a:t>
            </a:r>
            <a:r>
              <a:rPr lang="ru-RU" sz="1800" dirty="0">
                <a:latin typeface="PF Centro Sans Pro" panose="02000500000000020004" pitchFamily="50" charset="0"/>
                <a:ea typeface="Calibri" panose="020F0502020204030204" pitchFamily="34" charset="0"/>
              </a:rPr>
              <a:t>в </a:t>
            </a:r>
            <a:r>
              <a:rPr lang="ru-RU" sz="1800" dirty="0" smtClean="0">
                <a:latin typeface="PF Centro Sans Pro" panose="02000500000000020004" pitchFamily="50" charset="0"/>
                <a:ea typeface="Calibri" panose="020F0502020204030204" pitchFamily="34" charset="0"/>
              </a:rPr>
              <a:t>таблице.</a:t>
            </a:r>
            <a:endParaRPr lang="ru-RU" sz="1800" dirty="0">
              <a:latin typeface="PF Centro Sans Pro" panose="02000500000000020004" pitchFamily="50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5265545"/>
              </p:ext>
            </p:extLst>
          </p:nvPr>
        </p:nvGraphicFramePr>
        <p:xfrm>
          <a:off x="455032" y="3068312"/>
          <a:ext cx="12135154" cy="280548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47354"/>
                <a:gridCol w="2213451"/>
                <a:gridCol w="771569"/>
                <a:gridCol w="646606"/>
                <a:gridCol w="717308"/>
                <a:gridCol w="949322"/>
                <a:gridCol w="919295"/>
                <a:gridCol w="949322"/>
                <a:gridCol w="949322"/>
                <a:gridCol w="882335"/>
                <a:gridCol w="1294635"/>
                <a:gridCol w="1294635"/>
              </a:tblGrid>
              <a:tr h="275792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PF Centro Sans Pro" panose="02000500000000020004" pitchFamily="50" charset="0"/>
                        </a:rPr>
                        <a:t>№ 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err="1">
                          <a:effectLst/>
                          <a:latin typeface="PF Centro Sans Pro" panose="02000500000000020004" pitchFamily="50" charset="0"/>
                        </a:rPr>
                        <a:t>п.п</a:t>
                      </a:r>
                      <a:r>
                        <a:rPr lang="ru-RU" sz="1600" dirty="0">
                          <a:effectLst/>
                          <a:latin typeface="PF Centro Sans Pro" panose="02000500000000020004" pitchFamily="50" charset="0"/>
                        </a:rPr>
                        <a:t>.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PF Centro Sans Pro" panose="02000500000000020004" pitchFamily="50" charset="0"/>
                        </a:rPr>
                        <a:t>Объект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gridSpan="10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PF Centro Sans Pro" panose="02000500000000020004" pitchFamily="50" charset="0"/>
                        </a:rPr>
                        <a:t>Имеющиеся производственные мощности без учета дополнительных инвестиций, </a:t>
                      </a:r>
                      <a:r>
                        <a:rPr lang="ru-RU" sz="1600" dirty="0" err="1">
                          <a:effectLst/>
                          <a:latin typeface="PF Centro Sans Pro" panose="02000500000000020004" pitchFamily="50" charset="0"/>
                        </a:rPr>
                        <a:t>самолётокомплектов</a:t>
                      </a:r>
                      <a:r>
                        <a:rPr lang="ru-RU" sz="1600" dirty="0">
                          <a:effectLst/>
                          <a:latin typeface="PF Centro Sans Pro" panose="02000500000000020004" pitchFamily="50" charset="0"/>
                        </a:rPr>
                        <a:t> в год</a:t>
                      </a:r>
                      <a:endParaRPr lang="ru-RU" sz="16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3789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PF Centro Sans Pro" panose="02000500000000020004" pitchFamily="50" charset="0"/>
                        </a:rPr>
                        <a:t>2022</a:t>
                      </a:r>
                      <a:endParaRPr lang="ru-RU" sz="1600" b="1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PF Centro Sans Pro" panose="02000500000000020004" pitchFamily="50" charset="0"/>
                        </a:rPr>
                        <a:t>2023</a:t>
                      </a:r>
                      <a:endParaRPr lang="ru-RU" sz="1600" b="1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PF Centro Sans Pro" panose="02000500000000020004" pitchFamily="50" charset="0"/>
                        </a:rPr>
                        <a:t>2024</a:t>
                      </a:r>
                      <a:endParaRPr lang="ru-RU" sz="1600" b="1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PF Centro Sans Pro" panose="02000500000000020004" pitchFamily="50" charset="0"/>
                        </a:rPr>
                        <a:t>2025</a:t>
                      </a:r>
                      <a:endParaRPr lang="ru-RU" sz="1600" b="1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PF Centro Sans Pro" panose="02000500000000020004" pitchFamily="50" charset="0"/>
                        </a:rPr>
                        <a:t>2026</a:t>
                      </a:r>
                      <a:endParaRPr lang="ru-RU" sz="1600" b="1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PF Centro Sans Pro" panose="02000500000000020004" pitchFamily="50" charset="0"/>
                        </a:rPr>
                        <a:t>2027</a:t>
                      </a:r>
                      <a:endParaRPr lang="ru-RU" sz="1600" b="1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PF Centro Sans Pro" panose="02000500000000020004" pitchFamily="50" charset="0"/>
                        </a:rPr>
                        <a:t>2028</a:t>
                      </a:r>
                      <a:endParaRPr lang="ru-RU" sz="1600" b="1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PF Centro Sans Pro" panose="02000500000000020004" pitchFamily="50" charset="0"/>
                        </a:rPr>
                        <a:t>2029</a:t>
                      </a:r>
                      <a:endParaRPr lang="ru-RU" sz="1600" b="1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PF Centro Sans Pro" panose="02000500000000020004" pitchFamily="50" charset="0"/>
                        </a:rPr>
                        <a:t>2030</a:t>
                      </a:r>
                      <a:endParaRPr lang="ru-RU" sz="1600" b="1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PF Centro Sans Pro" panose="02000500000000020004" pitchFamily="50" charset="0"/>
                        </a:rPr>
                        <a:t>Итого</a:t>
                      </a:r>
                      <a:endParaRPr lang="ru-RU" sz="1600" b="1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13789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1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PF Centro Sans Pro" panose="02000500000000020004" pitchFamily="50" charset="0"/>
                        </a:rPr>
                        <a:t>SSJ-NEW</a:t>
                      </a:r>
                      <a:endParaRPr lang="ru-RU" sz="2000" b="1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ctr" defTabSz="128016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kern="1200" dirty="0">
                          <a:solidFill>
                            <a:schemeClr val="tx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chemeClr val="tx1"/>
                          </a:solidFill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600" b="1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600" b="1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600" b="1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600" b="1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600" b="1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600" b="1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600" b="1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30</a:t>
                      </a:r>
                      <a:endParaRPr lang="ru-RU" sz="1600" b="1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13789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PF Centro Sans Pro" panose="02000500000000020004" pitchFamily="50" charset="0"/>
                        </a:rPr>
                        <a:t>МС-21</a:t>
                      </a:r>
                      <a:endParaRPr lang="ru-RU" sz="2000" b="1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ctr" defTabSz="128016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kern="1200" dirty="0">
                          <a:solidFill>
                            <a:schemeClr val="tx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chemeClr val="tx1"/>
                          </a:solidFill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600" b="1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600" b="1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600" b="1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600" b="1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600" b="1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600" b="1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600" b="1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28</a:t>
                      </a:r>
                      <a:endParaRPr lang="ru-RU" sz="1600" b="1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26086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3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PF Centro Sans Pro" panose="02000500000000020004" pitchFamily="50" charset="0"/>
                        </a:rPr>
                        <a:t>Ту-214</a:t>
                      </a:r>
                      <a:endParaRPr lang="ru-RU" sz="2000" b="1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ctr" defTabSz="128016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kern="1200" dirty="0">
                          <a:solidFill>
                            <a:srgbClr val="229C1C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 2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229C1C"/>
                          </a:solidFill>
                          <a:effectLst/>
                          <a:latin typeface="PF Centro Sans Pro" panose="02000500000000020004" pitchFamily="50" charset="0"/>
                        </a:rPr>
                        <a:t>3</a:t>
                      </a:r>
                      <a:endParaRPr lang="ru-RU" sz="1600" b="0" dirty="0">
                        <a:solidFill>
                          <a:srgbClr val="229C1C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229C1C"/>
                          </a:solidFill>
                          <a:effectLst/>
                          <a:latin typeface="PF Centro Sans Pro" panose="02000500000000020004" pitchFamily="50" charset="0"/>
                        </a:rPr>
                        <a:t>7</a:t>
                      </a:r>
                      <a:endParaRPr lang="ru-RU" sz="1600" b="0" dirty="0">
                        <a:solidFill>
                          <a:srgbClr val="229C1C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229C1C"/>
                          </a:solidFill>
                          <a:effectLst/>
                          <a:latin typeface="PF Centro Sans Pro" panose="02000500000000020004" pitchFamily="50" charset="0"/>
                        </a:rPr>
                        <a:t>10</a:t>
                      </a:r>
                      <a:endParaRPr lang="ru-RU" sz="1600" b="0" dirty="0">
                        <a:solidFill>
                          <a:srgbClr val="229C1C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229C1C"/>
                          </a:solidFill>
                          <a:effectLst/>
                          <a:latin typeface="PF Centro Sans Pro" panose="02000500000000020004" pitchFamily="50" charset="0"/>
                        </a:rPr>
                        <a:t>10</a:t>
                      </a:r>
                      <a:endParaRPr lang="ru-RU" sz="1600" b="0" dirty="0">
                        <a:solidFill>
                          <a:srgbClr val="229C1C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229C1C"/>
                          </a:solidFill>
                          <a:effectLst/>
                          <a:latin typeface="PF Centro Sans Pro" panose="02000500000000020004" pitchFamily="50" charset="0"/>
                        </a:rPr>
                        <a:t>10</a:t>
                      </a:r>
                      <a:endParaRPr lang="ru-RU" sz="1600" b="0" dirty="0">
                        <a:solidFill>
                          <a:srgbClr val="229C1C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229C1C"/>
                          </a:solidFill>
                          <a:effectLst/>
                          <a:latin typeface="PF Centro Sans Pro" panose="02000500000000020004" pitchFamily="50" charset="0"/>
                        </a:rPr>
                        <a:t>10</a:t>
                      </a:r>
                      <a:endParaRPr lang="ru-RU" sz="1600" b="0" dirty="0">
                        <a:solidFill>
                          <a:srgbClr val="229C1C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229C1C"/>
                          </a:solidFill>
                          <a:effectLst/>
                          <a:latin typeface="PF Centro Sans Pro" panose="02000500000000020004" pitchFamily="50" charset="0"/>
                        </a:rPr>
                        <a:t>10</a:t>
                      </a:r>
                      <a:endParaRPr lang="ru-RU" sz="1600" b="0" dirty="0">
                        <a:solidFill>
                          <a:srgbClr val="229C1C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229C1C"/>
                          </a:solidFill>
                          <a:effectLst/>
                          <a:latin typeface="PF Centro Sans Pro" panose="02000500000000020004" pitchFamily="50" charset="0"/>
                        </a:rPr>
                        <a:t>10</a:t>
                      </a:r>
                      <a:endParaRPr lang="ru-RU" sz="1600" b="0" dirty="0">
                        <a:solidFill>
                          <a:srgbClr val="229C1C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229C1C"/>
                          </a:solidFill>
                          <a:effectLst/>
                          <a:latin typeface="PF Centro Sans Pro" panose="02000500000000020004" pitchFamily="50" charset="0"/>
                        </a:rPr>
                        <a:t>72</a:t>
                      </a:r>
                      <a:endParaRPr lang="ru-RU" sz="1600" b="1" dirty="0">
                        <a:solidFill>
                          <a:srgbClr val="229C1C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13789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PF Centro Sans Pro" panose="02000500000000020004" pitchFamily="50" charset="0"/>
                        </a:rPr>
                        <a:t>Ил-96-300</a:t>
                      </a:r>
                      <a:endParaRPr lang="ru-RU" sz="2000" b="1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ctr" defTabSz="128016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kern="1200" dirty="0">
                          <a:solidFill>
                            <a:srgbClr val="229C1C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 2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229C1C"/>
                          </a:solidFill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endParaRPr lang="ru-RU" sz="1600" b="0" dirty="0">
                        <a:solidFill>
                          <a:srgbClr val="229C1C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229C1C"/>
                          </a:solidFill>
                          <a:effectLst/>
                          <a:latin typeface="PF Centro Sans Pro" panose="02000500000000020004" pitchFamily="50" charset="0"/>
                        </a:rPr>
                        <a:t>1</a:t>
                      </a:r>
                      <a:endParaRPr lang="ru-RU" sz="1600" b="0" dirty="0">
                        <a:solidFill>
                          <a:srgbClr val="229C1C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229C1C"/>
                          </a:solidFill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endParaRPr lang="ru-RU" sz="1600" b="0" dirty="0">
                        <a:solidFill>
                          <a:srgbClr val="229C1C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229C1C"/>
                          </a:solidFill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endParaRPr lang="ru-RU" sz="1600" b="0" dirty="0">
                        <a:solidFill>
                          <a:srgbClr val="229C1C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229C1C"/>
                          </a:solidFill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endParaRPr lang="ru-RU" sz="1600" b="0" dirty="0">
                        <a:solidFill>
                          <a:srgbClr val="229C1C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229C1C"/>
                          </a:solidFill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endParaRPr lang="ru-RU" sz="1600" b="0" dirty="0">
                        <a:solidFill>
                          <a:srgbClr val="229C1C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229C1C"/>
                          </a:solidFill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endParaRPr lang="ru-RU" sz="1600" b="0" dirty="0">
                        <a:solidFill>
                          <a:srgbClr val="229C1C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229C1C"/>
                          </a:solidFill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endParaRPr lang="ru-RU" sz="1600" b="0" dirty="0">
                        <a:solidFill>
                          <a:srgbClr val="229C1C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229C1C"/>
                          </a:solidFill>
                          <a:effectLst/>
                          <a:latin typeface="PF Centro Sans Pro" panose="02000500000000020004" pitchFamily="50" charset="0"/>
                        </a:rPr>
                        <a:t>17</a:t>
                      </a:r>
                      <a:endParaRPr lang="ru-RU" sz="1600" b="1" dirty="0">
                        <a:solidFill>
                          <a:srgbClr val="229C1C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13789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5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Ил-114-300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ctr" defTabSz="128016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kern="1200" dirty="0">
                          <a:solidFill>
                            <a:srgbClr val="229C1C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229C1C"/>
                          </a:solidFill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endParaRPr lang="ru-RU" sz="1600" b="0" dirty="0">
                        <a:solidFill>
                          <a:srgbClr val="229C1C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229C1C"/>
                          </a:solidFill>
                          <a:effectLst/>
                          <a:latin typeface="PF Centro Sans Pro" panose="02000500000000020004" pitchFamily="50" charset="0"/>
                        </a:rPr>
                        <a:t>3</a:t>
                      </a:r>
                      <a:endParaRPr lang="ru-RU" sz="1600" b="0" dirty="0">
                        <a:solidFill>
                          <a:srgbClr val="229C1C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229C1C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600" b="0" dirty="0">
                        <a:solidFill>
                          <a:srgbClr val="229C1C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229C1C"/>
                          </a:solidFill>
                          <a:effectLst/>
                          <a:latin typeface="PF Centro Sans Pro" panose="02000500000000020004" pitchFamily="50" charset="0"/>
                        </a:rPr>
                        <a:t>12</a:t>
                      </a:r>
                      <a:endParaRPr lang="ru-RU" sz="1600" b="0" dirty="0">
                        <a:solidFill>
                          <a:srgbClr val="229C1C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229C1C"/>
                          </a:solidFill>
                          <a:effectLst/>
                          <a:latin typeface="PF Centro Sans Pro" panose="02000500000000020004" pitchFamily="50" charset="0"/>
                        </a:rPr>
                        <a:t>12</a:t>
                      </a:r>
                      <a:endParaRPr lang="ru-RU" sz="1600" b="0" dirty="0">
                        <a:solidFill>
                          <a:srgbClr val="229C1C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229C1C"/>
                          </a:solidFill>
                          <a:effectLst/>
                          <a:latin typeface="PF Centro Sans Pro" panose="02000500000000020004" pitchFamily="50" charset="0"/>
                        </a:rPr>
                        <a:t>12</a:t>
                      </a:r>
                      <a:endParaRPr lang="ru-RU" sz="1600" b="0" dirty="0">
                        <a:solidFill>
                          <a:srgbClr val="229C1C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229C1C"/>
                          </a:solidFill>
                          <a:effectLst/>
                          <a:latin typeface="PF Centro Sans Pro" panose="02000500000000020004" pitchFamily="50" charset="0"/>
                        </a:rPr>
                        <a:t>12</a:t>
                      </a:r>
                      <a:endParaRPr lang="ru-RU" sz="1600" b="0" dirty="0">
                        <a:solidFill>
                          <a:srgbClr val="229C1C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229C1C"/>
                          </a:solidFill>
                          <a:effectLst/>
                          <a:latin typeface="PF Centro Sans Pro" panose="02000500000000020004" pitchFamily="50" charset="0"/>
                        </a:rPr>
                        <a:t>12</a:t>
                      </a:r>
                      <a:endParaRPr lang="ru-RU" sz="1600" b="0" dirty="0">
                        <a:solidFill>
                          <a:srgbClr val="229C1C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229C1C"/>
                          </a:solidFill>
                          <a:effectLst/>
                          <a:latin typeface="PF Centro Sans Pro" panose="02000500000000020004" pitchFamily="50" charset="0"/>
                        </a:rPr>
                        <a:t>73</a:t>
                      </a:r>
                      <a:endParaRPr lang="ru-RU" sz="1600" b="1" dirty="0">
                        <a:solidFill>
                          <a:srgbClr val="229C1C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13789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PF Centro Sans Pro" panose="02000500000000020004" pitchFamily="50" charset="0"/>
                        </a:rPr>
                        <a:t>6</a:t>
                      </a:r>
                      <a:endParaRPr lang="ru-RU" sz="1400" dirty="0"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Ил-76/78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ctr" defTabSz="128016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kern="1200" dirty="0">
                          <a:solidFill>
                            <a:srgbClr val="229C1C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229C1C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600" b="0" dirty="0">
                        <a:solidFill>
                          <a:srgbClr val="229C1C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229C1C"/>
                          </a:solidFill>
                          <a:effectLst/>
                          <a:latin typeface="PF Centro Sans Pro" panose="02000500000000020004" pitchFamily="50" charset="0"/>
                        </a:rPr>
                        <a:t>12</a:t>
                      </a:r>
                      <a:endParaRPr lang="ru-RU" sz="1600" b="0" dirty="0">
                        <a:solidFill>
                          <a:srgbClr val="229C1C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229C1C"/>
                          </a:solidFill>
                          <a:effectLst/>
                          <a:latin typeface="PF Centro Sans Pro" panose="02000500000000020004" pitchFamily="50" charset="0"/>
                        </a:rPr>
                        <a:t>18</a:t>
                      </a:r>
                      <a:endParaRPr lang="ru-RU" sz="1600" b="0" dirty="0">
                        <a:solidFill>
                          <a:srgbClr val="229C1C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229C1C"/>
                          </a:solidFill>
                          <a:effectLst/>
                          <a:latin typeface="PF Centro Sans Pro" panose="02000500000000020004" pitchFamily="50" charset="0"/>
                        </a:rPr>
                        <a:t>18</a:t>
                      </a:r>
                      <a:endParaRPr lang="ru-RU" sz="1600" b="0" dirty="0">
                        <a:solidFill>
                          <a:srgbClr val="229C1C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229C1C"/>
                          </a:solidFill>
                          <a:effectLst/>
                          <a:latin typeface="PF Centro Sans Pro" panose="02000500000000020004" pitchFamily="50" charset="0"/>
                        </a:rPr>
                        <a:t>18</a:t>
                      </a:r>
                      <a:endParaRPr lang="ru-RU" sz="1600" b="0" dirty="0">
                        <a:solidFill>
                          <a:srgbClr val="229C1C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229C1C"/>
                          </a:solidFill>
                          <a:effectLst/>
                          <a:latin typeface="PF Centro Sans Pro" panose="02000500000000020004" pitchFamily="50" charset="0"/>
                        </a:rPr>
                        <a:t>18</a:t>
                      </a:r>
                      <a:endParaRPr lang="ru-RU" sz="1600" b="0" dirty="0">
                        <a:solidFill>
                          <a:srgbClr val="229C1C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229C1C"/>
                          </a:solidFill>
                          <a:effectLst/>
                          <a:latin typeface="PF Centro Sans Pro" panose="02000500000000020004" pitchFamily="50" charset="0"/>
                        </a:rPr>
                        <a:t>18</a:t>
                      </a:r>
                      <a:endParaRPr lang="ru-RU" sz="1600" b="0" dirty="0">
                        <a:solidFill>
                          <a:srgbClr val="229C1C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229C1C"/>
                          </a:solidFill>
                          <a:effectLst/>
                          <a:latin typeface="PF Centro Sans Pro" panose="02000500000000020004" pitchFamily="50" charset="0"/>
                        </a:rPr>
                        <a:t>18</a:t>
                      </a:r>
                      <a:endParaRPr lang="ru-RU" sz="1600" b="0" dirty="0">
                        <a:solidFill>
                          <a:srgbClr val="229C1C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229C1C"/>
                          </a:solidFill>
                          <a:effectLst/>
                          <a:latin typeface="PF Centro Sans Pro" panose="02000500000000020004" pitchFamily="50" charset="0"/>
                        </a:rPr>
                        <a:t>133</a:t>
                      </a:r>
                      <a:endParaRPr lang="ru-RU" sz="1600" b="1" dirty="0">
                        <a:solidFill>
                          <a:srgbClr val="229C1C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14293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lt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indent="0" algn="l" defTabSz="128016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ТВРС-44 "Ладога"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 smtClean="0">
                          <a:solidFill>
                            <a:schemeClr val="tx1"/>
                          </a:solidFill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 smtClean="0">
                          <a:solidFill>
                            <a:schemeClr val="tx1"/>
                          </a:solidFill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 smtClean="0">
                          <a:solidFill>
                            <a:schemeClr val="tx1"/>
                          </a:solidFill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600" b="1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600" b="1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600" b="1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600" b="1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600" b="1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600" b="1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28586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chemeClr val="lt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9</a:t>
                      </a:r>
                      <a:endParaRPr lang="ru-RU" sz="1400" b="1" kern="1200" dirty="0">
                        <a:solidFill>
                          <a:schemeClr val="lt1"/>
                        </a:solidFill>
                        <a:effectLst/>
                        <a:latin typeface="PF Centro Sans Pro" panose="02000500000000020004" pitchFamily="50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indent="0" algn="l" defTabSz="128016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"Байкал" (ЛМС-901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 smtClean="0">
                          <a:solidFill>
                            <a:srgbClr val="229C1C"/>
                          </a:solidFill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600" b="0" dirty="0">
                        <a:solidFill>
                          <a:srgbClr val="229C1C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 smtClean="0">
                          <a:solidFill>
                            <a:srgbClr val="229C1C"/>
                          </a:solidFill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600" b="0" dirty="0">
                        <a:solidFill>
                          <a:srgbClr val="229C1C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 smtClean="0">
                          <a:solidFill>
                            <a:srgbClr val="229C1C"/>
                          </a:solidFill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</a:t>
                      </a:r>
                      <a:endParaRPr lang="ru-RU" sz="1600" b="0" dirty="0">
                        <a:solidFill>
                          <a:srgbClr val="229C1C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 smtClean="0">
                          <a:solidFill>
                            <a:srgbClr val="229C1C"/>
                          </a:solidFill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5</a:t>
                      </a:r>
                      <a:endParaRPr lang="ru-RU" sz="1600" b="0" dirty="0">
                        <a:solidFill>
                          <a:srgbClr val="229C1C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 smtClean="0">
                          <a:solidFill>
                            <a:srgbClr val="229C1C"/>
                          </a:solidFill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</a:t>
                      </a:r>
                      <a:endParaRPr lang="ru-RU" sz="1600" b="0" dirty="0">
                        <a:solidFill>
                          <a:srgbClr val="229C1C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 smtClean="0">
                          <a:solidFill>
                            <a:srgbClr val="229C1C"/>
                          </a:solidFill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</a:t>
                      </a:r>
                      <a:endParaRPr lang="ru-RU" sz="1600" b="0" dirty="0">
                        <a:solidFill>
                          <a:srgbClr val="229C1C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 smtClean="0">
                          <a:solidFill>
                            <a:srgbClr val="229C1C"/>
                          </a:solidFill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</a:t>
                      </a:r>
                      <a:endParaRPr lang="ru-RU" sz="1600" b="0" dirty="0">
                        <a:solidFill>
                          <a:srgbClr val="229C1C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 smtClean="0">
                          <a:solidFill>
                            <a:srgbClr val="229C1C"/>
                          </a:solidFill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</a:t>
                      </a:r>
                      <a:endParaRPr lang="ru-RU" sz="1600" b="0" dirty="0">
                        <a:solidFill>
                          <a:srgbClr val="229C1C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 smtClean="0">
                          <a:solidFill>
                            <a:srgbClr val="229C1C"/>
                          </a:solidFill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</a:t>
                      </a:r>
                      <a:endParaRPr lang="ru-RU" sz="1600" b="0" dirty="0">
                        <a:solidFill>
                          <a:srgbClr val="229C1C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solidFill>
                            <a:srgbClr val="229C1C"/>
                          </a:solidFill>
                          <a:effectLst/>
                          <a:latin typeface="PF Centro Sans Pro" panose="02000500000000020004" pitchFamily="50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54</a:t>
                      </a:r>
                      <a:endParaRPr lang="ru-RU" sz="1600" b="1" dirty="0">
                        <a:solidFill>
                          <a:srgbClr val="229C1C"/>
                        </a:solidFill>
                        <a:effectLst/>
                        <a:latin typeface="PF Centro Sans Pro" panose="02000500000000020004" pitchFamily="50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09376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94268" y="-765063"/>
          <a:ext cx="1893" cy="18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374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494268" y="-765063"/>
                        <a:ext cx="1893" cy="18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492371" y="-766960"/>
            <a:ext cx="189373" cy="189373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432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5" name="Текст 2"/>
          <p:cNvSpPr>
            <a:spLocks noGrp="1"/>
          </p:cNvSpPr>
          <p:nvPr>
            <p:ph type="body" sz="quarter" idx="13"/>
          </p:nvPr>
        </p:nvSpPr>
        <p:spPr>
          <a:xfrm>
            <a:off x="584923" y="760059"/>
            <a:ext cx="11481671" cy="787898"/>
          </a:xfrm>
        </p:spPr>
        <p:txBody>
          <a:bodyPr vert="horz" lIns="91440" tIns="45720" rIns="91440" bIns="45720" rtlCol="0">
            <a:noAutofit/>
          </a:bodyPr>
          <a:lstStyle/>
          <a:p>
            <a:pPr marL="0" indent="0">
              <a:buNone/>
            </a:pPr>
            <a:r>
              <a:rPr lang="ru-RU" sz="2000" b="1" noProof="1" smtClean="0">
                <a:latin typeface="PF Centro Sans Pro" panose="02000500000000020004" pitchFamily="50" charset="0"/>
              </a:rPr>
              <a:t>Текущие </a:t>
            </a:r>
            <a:r>
              <a:rPr lang="ru-RU" sz="2000" b="1" dirty="0" smtClean="0">
                <a:latin typeface="PF Centro Sans Pro" panose="02000500000000020004" pitchFamily="50" charset="0"/>
              </a:rPr>
              <a:t>производственные возможности предприятия</a:t>
            </a:r>
            <a:endParaRPr lang="ru-RU" sz="2000" b="1" noProof="1">
              <a:latin typeface="PF Centro Sans Pro" panose="02000500000000020004" pitchFamily="50" charset="0"/>
            </a:endParaRPr>
          </a:p>
        </p:txBody>
      </p:sp>
      <p:sp>
        <p:nvSpPr>
          <p:cNvPr id="30" name="Rectangle 6"/>
          <p:cNvSpPr/>
          <p:nvPr/>
        </p:nvSpPr>
        <p:spPr>
          <a:xfrm>
            <a:off x="0" y="1711060"/>
            <a:ext cx="12801600" cy="123401"/>
          </a:xfrm>
          <a:prstGeom prst="rect">
            <a:avLst/>
          </a:prstGeom>
          <a:solidFill>
            <a:srgbClr val="5E85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5"/>
          </p:nvPr>
        </p:nvSpPr>
        <p:spPr>
          <a:xfrm>
            <a:off x="11024256" y="8984394"/>
            <a:ext cx="1454022" cy="511175"/>
          </a:xfrm>
        </p:spPr>
        <p:txBody>
          <a:bodyPr/>
          <a:lstStyle/>
          <a:p>
            <a:pPr algn="r"/>
            <a:fld id="{507BA088-F718-4C29-B79D-C60B6090533A}" type="datetime1">
              <a:rPr lang="ru-RU" sz="1600" smtClean="0">
                <a:solidFill>
                  <a:srgbClr val="40C4F4"/>
                </a:solidFill>
                <a:latin typeface="PF Centro Sans Pro" panose="02000500000000020004" pitchFamily="50" charset="0"/>
              </a:rPr>
              <a:t>28.11.2022</a:t>
            </a:fld>
            <a:endParaRPr lang="en-US" sz="1600" dirty="0">
              <a:solidFill>
                <a:srgbClr val="40C4F4"/>
              </a:solidFill>
              <a:latin typeface="PF Centro Sans Pro" panose="02000500000000020004" pitchFamily="50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6447" y="496066"/>
            <a:ext cx="3432048" cy="749808"/>
          </a:xfrm>
          <a:prstGeom prst="rect">
            <a:avLst/>
          </a:prstGeom>
        </p:spPr>
      </p:pic>
      <p:sp>
        <p:nvSpPr>
          <p:cNvPr id="8" name="Нижний колонтитул 7"/>
          <p:cNvSpPr>
            <a:spLocks noGrp="1"/>
          </p:cNvSpPr>
          <p:nvPr>
            <p:ph type="ftr" sz="quarter" idx="16"/>
          </p:nvPr>
        </p:nvSpPr>
        <p:spPr>
          <a:xfrm>
            <a:off x="455032" y="9085668"/>
            <a:ext cx="1826638" cy="382962"/>
          </a:xfrm>
        </p:spPr>
        <p:txBody>
          <a:bodyPr/>
          <a:lstStyle/>
          <a:p>
            <a:pPr algn="l"/>
            <a:r>
              <a:rPr lang="ru-RU" sz="2200" baseline="30000" dirty="0">
                <a:solidFill>
                  <a:srgbClr val="00B0F0"/>
                </a:solidFill>
                <a:latin typeface="PF Centro Sans Pro" panose="02000500000000020004" pitchFamily="50" charset="0"/>
              </a:rPr>
              <a:t>АО "Электропривод"</a:t>
            </a:r>
            <a:endParaRPr lang="en-US" sz="2200" baseline="30000" dirty="0">
              <a:solidFill>
                <a:srgbClr val="00B0F0"/>
              </a:solidFill>
              <a:latin typeface="PF Centro Sans Pro" panose="02000500000000020004" pitchFamily="50" charset="0"/>
            </a:endParaRPr>
          </a:p>
        </p:txBody>
      </p:sp>
      <p:sp>
        <p:nvSpPr>
          <p:cNvPr id="50" name="Rectangle 7"/>
          <p:cNvSpPr>
            <a:spLocks noChangeArrowheads="1"/>
          </p:cNvSpPr>
          <p:nvPr/>
        </p:nvSpPr>
        <p:spPr bwMode="auto">
          <a:xfrm>
            <a:off x="96698" y="3443993"/>
            <a:ext cx="184731" cy="5133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 sz="2736"/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3199939"/>
              </p:ext>
            </p:extLst>
          </p:nvPr>
        </p:nvGraphicFramePr>
        <p:xfrm>
          <a:off x="302374" y="2895763"/>
          <a:ext cx="12196851" cy="560131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80947"/>
                <a:gridCol w="1911021"/>
                <a:gridCol w="531340"/>
                <a:gridCol w="2199503"/>
                <a:gridCol w="651582"/>
                <a:gridCol w="611755"/>
                <a:gridCol w="611755"/>
                <a:gridCol w="611755"/>
                <a:gridCol w="611755"/>
                <a:gridCol w="611755"/>
                <a:gridCol w="611755"/>
                <a:gridCol w="611755"/>
                <a:gridCol w="611755"/>
                <a:gridCol w="828418"/>
              </a:tblGrid>
              <a:tr h="254885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 dirty="0">
                          <a:solidFill>
                            <a:schemeClr val="bg1"/>
                          </a:solidFill>
                          <a:effectLst/>
                          <a:latin typeface="PF Centro Sans Pro" panose="02000500000000020004" pitchFamily="50" charset="0"/>
                        </a:rPr>
                        <a:t>Объект</a:t>
                      </a:r>
                      <a:endParaRPr lang="ru-RU" sz="1350" b="1" i="0" u="none" strike="noStrike" dirty="0">
                        <a:solidFill>
                          <a:schemeClr val="bg1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5E85C4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 dirty="0">
                          <a:solidFill>
                            <a:schemeClr val="bg1"/>
                          </a:solidFill>
                          <a:effectLst/>
                          <a:latin typeface="PF Centro Sans Pro" panose="02000500000000020004" pitchFamily="50" charset="0"/>
                        </a:rPr>
                        <a:t>Изделие</a:t>
                      </a:r>
                      <a:endParaRPr lang="ru-RU" sz="1350" b="1" i="0" u="none" strike="noStrike" dirty="0">
                        <a:solidFill>
                          <a:schemeClr val="bg1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5E85C4"/>
                    </a:solidFill>
                  </a:tcPr>
                </a:tc>
                <a:tc rowSpan="2" gridSpan="2"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PF Centro Sans Pro" panose="02000500000000020004" pitchFamily="50" charset="0"/>
                        </a:rPr>
                        <a:t>Самолетокомплект</a:t>
                      </a:r>
                      <a:r>
                        <a:rPr lang="ru-RU" sz="1350" b="1" u="none" strike="noStrike" dirty="0">
                          <a:solidFill>
                            <a:schemeClr val="bg1"/>
                          </a:solidFill>
                          <a:effectLst/>
                          <a:latin typeface="PF Centro Sans Pro" panose="02000500000000020004" pitchFamily="50" charset="0"/>
                        </a:rPr>
                        <a:t> </a:t>
                      </a:r>
                      <a:endParaRPr lang="ru-RU" sz="1350" b="1" i="0" u="none" strike="noStrike" dirty="0">
                        <a:solidFill>
                          <a:schemeClr val="bg1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5E85C4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10"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 dirty="0">
                          <a:solidFill>
                            <a:schemeClr val="bg1"/>
                          </a:solidFill>
                          <a:effectLst/>
                          <a:latin typeface="PF Centro Sans Pro" panose="02000500000000020004" pitchFamily="50" charset="0"/>
                        </a:rPr>
                        <a:t>Имеющиеся производственные мощности без учета дополнительных инвестиций, </a:t>
                      </a:r>
                      <a:r>
                        <a:rPr lang="ru-RU" sz="1350" b="1" u="none" strike="noStrike" dirty="0" err="1">
                          <a:solidFill>
                            <a:schemeClr val="bg1"/>
                          </a:solidFill>
                          <a:effectLst/>
                          <a:latin typeface="PF Centro Sans Pro" panose="02000500000000020004" pitchFamily="50" charset="0"/>
                        </a:rPr>
                        <a:t>самолётокомплектов</a:t>
                      </a:r>
                      <a:r>
                        <a:rPr lang="ru-RU" sz="1350" b="1" u="none" strike="noStrike" dirty="0">
                          <a:solidFill>
                            <a:schemeClr val="bg1"/>
                          </a:solidFill>
                          <a:effectLst/>
                          <a:latin typeface="PF Centro Sans Pro" panose="02000500000000020004" pitchFamily="50" charset="0"/>
                        </a:rPr>
                        <a:t> в год</a:t>
                      </a:r>
                      <a:endParaRPr lang="ru-RU" sz="1350" b="1" i="0" u="none" strike="noStrike" dirty="0">
                        <a:solidFill>
                          <a:schemeClr val="bg1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5E85C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10683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>
                          <a:solidFill>
                            <a:schemeClr val="bg1"/>
                          </a:solidFill>
                          <a:effectLst/>
                          <a:latin typeface="PF Centro Sans Pro" panose="02000500000000020004" pitchFamily="50" charset="0"/>
                        </a:rPr>
                        <a:t>2022</a:t>
                      </a:r>
                      <a:endParaRPr lang="ru-RU" sz="1350" b="1" i="0" u="none" strike="noStrike">
                        <a:solidFill>
                          <a:schemeClr val="bg1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5E85C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>
                          <a:solidFill>
                            <a:schemeClr val="bg1"/>
                          </a:solidFill>
                          <a:effectLst/>
                          <a:latin typeface="PF Centro Sans Pro" panose="02000500000000020004" pitchFamily="50" charset="0"/>
                        </a:rPr>
                        <a:t>2023</a:t>
                      </a:r>
                      <a:endParaRPr lang="ru-RU" sz="1350" b="1" i="0" u="none" strike="noStrike">
                        <a:solidFill>
                          <a:schemeClr val="bg1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5E85C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 dirty="0">
                          <a:solidFill>
                            <a:schemeClr val="bg1"/>
                          </a:solidFill>
                          <a:effectLst/>
                          <a:latin typeface="PF Centro Sans Pro" panose="02000500000000020004" pitchFamily="50" charset="0"/>
                        </a:rPr>
                        <a:t>2024</a:t>
                      </a:r>
                      <a:endParaRPr lang="ru-RU" sz="1350" b="1" i="0" u="none" strike="noStrike" dirty="0">
                        <a:solidFill>
                          <a:schemeClr val="bg1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5E85C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 dirty="0">
                          <a:solidFill>
                            <a:schemeClr val="bg1"/>
                          </a:solidFill>
                          <a:effectLst/>
                          <a:latin typeface="PF Centro Sans Pro" panose="02000500000000020004" pitchFamily="50" charset="0"/>
                        </a:rPr>
                        <a:t>2025</a:t>
                      </a:r>
                      <a:endParaRPr lang="ru-RU" sz="1350" b="1" i="0" u="none" strike="noStrike" dirty="0">
                        <a:solidFill>
                          <a:schemeClr val="bg1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5E85C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 dirty="0">
                          <a:solidFill>
                            <a:schemeClr val="bg1"/>
                          </a:solidFill>
                          <a:effectLst/>
                          <a:latin typeface="PF Centro Sans Pro" panose="02000500000000020004" pitchFamily="50" charset="0"/>
                        </a:rPr>
                        <a:t>2026</a:t>
                      </a:r>
                      <a:endParaRPr lang="ru-RU" sz="1350" b="1" i="0" u="none" strike="noStrike" dirty="0">
                        <a:solidFill>
                          <a:schemeClr val="bg1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5E85C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>
                          <a:solidFill>
                            <a:schemeClr val="bg1"/>
                          </a:solidFill>
                          <a:effectLst/>
                          <a:latin typeface="PF Centro Sans Pro" panose="02000500000000020004" pitchFamily="50" charset="0"/>
                        </a:rPr>
                        <a:t>2027</a:t>
                      </a:r>
                      <a:endParaRPr lang="ru-RU" sz="1350" b="1" i="0" u="none" strike="noStrike">
                        <a:solidFill>
                          <a:schemeClr val="bg1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5E85C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 dirty="0">
                          <a:solidFill>
                            <a:schemeClr val="bg1"/>
                          </a:solidFill>
                          <a:effectLst/>
                          <a:latin typeface="PF Centro Sans Pro" panose="02000500000000020004" pitchFamily="50" charset="0"/>
                        </a:rPr>
                        <a:t>2028</a:t>
                      </a:r>
                      <a:endParaRPr lang="ru-RU" sz="1350" b="1" i="0" u="none" strike="noStrike" dirty="0">
                        <a:solidFill>
                          <a:schemeClr val="bg1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5E85C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 dirty="0">
                          <a:solidFill>
                            <a:schemeClr val="bg1"/>
                          </a:solidFill>
                          <a:effectLst/>
                          <a:latin typeface="PF Centro Sans Pro" panose="02000500000000020004" pitchFamily="50" charset="0"/>
                        </a:rPr>
                        <a:t>2029</a:t>
                      </a:r>
                      <a:endParaRPr lang="ru-RU" sz="1350" b="1" i="0" u="none" strike="noStrike" dirty="0">
                        <a:solidFill>
                          <a:schemeClr val="bg1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5E85C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 dirty="0">
                          <a:solidFill>
                            <a:schemeClr val="bg1"/>
                          </a:solidFill>
                          <a:effectLst/>
                          <a:latin typeface="PF Centro Sans Pro" panose="02000500000000020004" pitchFamily="50" charset="0"/>
                        </a:rPr>
                        <a:t>2030</a:t>
                      </a:r>
                      <a:endParaRPr lang="ru-RU" sz="1350" b="1" i="0" u="none" strike="noStrike" dirty="0">
                        <a:solidFill>
                          <a:schemeClr val="bg1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5E85C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 dirty="0">
                          <a:solidFill>
                            <a:schemeClr val="bg1"/>
                          </a:solidFill>
                          <a:effectLst/>
                          <a:latin typeface="PF Centro Sans Pro" panose="02000500000000020004" pitchFamily="50" charset="0"/>
                        </a:rPr>
                        <a:t>Итого</a:t>
                      </a:r>
                      <a:endParaRPr lang="ru-RU" sz="1350" b="1" i="0" u="none" strike="noStrike" dirty="0">
                        <a:solidFill>
                          <a:schemeClr val="bg1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5E85C4"/>
                    </a:solidFill>
                  </a:tcPr>
                </a:tc>
              </a:tr>
              <a:tr h="247135">
                <a:tc rowSpan="12">
                  <a:txBody>
                    <a:bodyPr/>
                    <a:lstStyle/>
                    <a:p>
                      <a:pPr marL="0" marR="0" indent="0" algn="ctr" defTabSz="128016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50" u="none" strike="noStrike" dirty="0" smtClean="0">
                          <a:effectLst/>
                          <a:latin typeface="PF Centro Sans Pro" panose="02000500000000020004" pitchFamily="50" charset="0"/>
                        </a:rPr>
                        <a:t>МС-21</a:t>
                      </a:r>
                      <a:endParaRPr lang="ru-RU" sz="1350" b="1" i="0" u="none" strike="noStrike" dirty="0" smtClean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  <a:p>
                      <a:pPr algn="ctr" rtl="0" fontAlgn="ctr"/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gridSpan="3">
                  <a:txBody>
                    <a:bodyPr/>
                    <a:lstStyle/>
                    <a:p>
                      <a:pPr algn="r" rtl="0" fontAlgn="ctr"/>
                      <a:r>
                        <a:rPr lang="ru-RU" sz="1350" b="1" u="none" strike="noStrike" dirty="0" smtClean="0">
                          <a:effectLst/>
                          <a:latin typeface="PF Centro Sans Pro" panose="02000500000000020004" pitchFamily="50" charset="0"/>
                        </a:rPr>
                        <a:t>Требуется</a:t>
                      </a:r>
                      <a:r>
                        <a:rPr lang="en-US" sz="1350" b="1" u="none" strike="noStrike" dirty="0" smtClean="0">
                          <a:effectLst/>
                          <a:latin typeface="PF Centro Sans Pro" panose="02000500000000020004" pitchFamily="50" charset="0"/>
                        </a:rPr>
                        <a:t> </a:t>
                      </a:r>
                      <a:r>
                        <a:rPr lang="ru-RU" sz="1350" b="1" u="none" strike="noStrike" dirty="0" smtClean="0">
                          <a:effectLst/>
                          <a:latin typeface="PF Centro Sans Pro" panose="02000500000000020004" pitchFamily="50" charset="0"/>
                        </a:rPr>
                        <a:t>для</a:t>
                      </a:r>
                      <a:r>
                        <a:rPr lang="ru-RU" sz="1350" b="1" u="none" strike="noStrike" baseline="0" dirty="0" smtClean="0">
                          <a:effectLst/>
                          <a:latin typeface="PF Centro Sans Pro" panose="02000500000000020004" pitchFamily="50" charset="0"/>
                        </a:rPr>
                        <a:t> МС-21: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 dirty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 dirty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 dirty="0">
                          <a:effectLst/>
                          <a:latin typeface="PF Centro Sans Pro" panose="02000500000000020004" pitchFamily="50" charset="0"/>
                        </a:rPr>
                        <a:t>6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 dirty="0">
                          <a:effectLst/>
                          <a:latin typeface="PF Centro Sans Pro" panose="02000500000000020004" pitchFamily="50" charset="0"/>
                        </a:rPr>
                        <a:t>12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 dirty="0">
                          <a:effectLst/>
                          <a:latin typeface="PF Centro Sans Pro" panose="02000500000000020004" pitchFamily="50" charset="0"/>
                        </a:rPr>
                        <a:t>22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 dirty="0">
                          <a:effectLst/>
                          <a:latin typeface="PF Centro Sans Pro" panose="02000500000000020004" pitchFamily="50" charset="0"/>
                        </a:rPr>
                        <a:t>36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 dirty="0">
                          <a:effectLst/>
                          <a:latin typeface="PF Centro Sans Pro" panose="02000500000000020004" pitchFamily="50" charset="0"/>
                        </a:rPr>
                        <a:t>50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 dirty="0">
                          <a:effectLst/>
                          <a:latin typeface="PF Centro Sans Pro" panose="02000500000000020004" pitchFamily="50" charset="0"/>
                        </a:rPr>
                        <a:t>72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 dirty="0">
                          <a:effectLst/>
                          <a:latin typeface="PF Centro Sans Pro" panose="02000500000000020004" pitchFamily="50" charset="0"/>
                        </a:rPr>
                        <a:t>72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 dirty="0">
                          <a:effectLst/>
                          <a:latin typeface="PF Centro Sans Pro" panose="02000500000000020004" pitchFamily="50" charset="0"/>
                        </a:rPr>
                        <a:t>272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</a:tr>
              <a:tr h="127443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gridSpan="3">
                  <a:txBody>
                    <a:bodyPr/>
                    <a:lstStyle/>
                    <a:p>
                      <a:pPr algn="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 </a:t>
                      </a:r>
                      <a:r>
                        <a:rPr lang="ru-RU" sz="1350" b="1" u="none" strike="noStrike" dirty="0" smtClean="0">
                          <a:effectLst/>
                          <a:latin typeface="PF Centro Sans Pro" panose="02000500000000020004" pitchFamily="50" charset="0"/>
                        </a:rPr>
                        <a:t>Текущая возможность для</a:t>
                      </a:r>
                      <a:r>
                        <a:rPr lang="ru-RU" sz="1350" b="1" u="none" strike="noStrike" baseline="0" dirty="0" smtClean="0">
                          <a:effectLst/>
                          <a:latin typeface="PF Centro Sans Pro" panose="02000500000000020004" pitchFamily="50" charset="0"/>
                        </a:rPr>
                        <a:t> МС-21: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 dirty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 dirty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 dirty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350" b="1" i="0" u="none" strike="noStrike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 dirty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 dirty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 dirty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 dirty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 dirty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 dirty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2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</a:tr>
              <a:tr h="127443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ЭМБ-МС-21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1280160" rtl="0" eaLnBrk="1" fontAlgn="ctr" latinLnBrk="0" hangingPunct="1"/>
                      <a:r>
                        <a:rPr lang="ru-RU" sz="1350" u="none" strike="noStrike" kern="1200" dirty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Требуется</a:t>
                      </a: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80160" rtl="0" eaLnBrk="1" fontAlgn="ctr" latinLnBrk="0" hangingPunct="1"/>
                      <a:r>
                        <a:rPr lang="ru-RU" sz="1350" u="none" strike="noStrike" kern="1200" dirty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80160" rtl="0" eaLnBrk="1" fontAlgn="ctr" latinLnBrk="0" hangingPunct="1"/>
                      <a:r>
                        <a:rPr lang="ru-RU" sz="1350" u="none" strike="noStrike" kern="1200" dirty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80160" rtl="0" eaLnBrk="1" fontAlgn="ctr" latinLnBrk="0" hangingPunct="1"/>
                      <a:r>
                        <a:rPr lang="ru-RU" sz="1350" u="none" strike="noStrike" kern="1200" dirty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48</a:t>
                      </a: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80160" rtl="0" eaLnBrk="1" fontAlgn="ctr" latinLnBrk="0" hangingPunct="1"/>
                      <a:r>
                        <a:rPr lang="ru-RU" sz="1350" u="none" strike="noStrike" kern="1200" dirty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96</a:t>
                      </a: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80160" rtl="0" eaLnBrk="1" fontAlgn="ctr" latinLnBrk="0" hangingPunct="1"/>
                      <a:r>
                        <a:rPr lang="ru-RU" sz="1350" u="none" strike="noStrike" kern="1200" dirty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176</a:t>
                      </a: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80160" rtl="0" eaLnBrk="1" fontAlgn="ctr" latinLnBrk="0" hangingPunct="1"/>
                      <a:r>
                        <a:rPr lang="ru-RU" sz="1350" u="none" strike="noStrike" kern="1200" dirty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288</a:t>
                      </a: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80160" rtl="0" eaLnBrk="1" fontAlgn="ctr" latinLnBrk="0" hangingPunct="1"/>
                      <a:r>
                        <a:rPr lang="ru-RU" sz="1350" u="none" strike="noStrike" kern="1200" dirty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400</a:t>
                      </a: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80160" rtl="0" eaLnBrk="1" fontAlgn="ctr" latinLnBrk="0" hangingPunct="1"/>
                      <a:r>
                        <a:rPr lang="ru-RU" sz="1350" u="none" strike="noStrike" kern="1200" dirty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576</a:t>
                      </a: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80160" rtl="0" eaLnBrk="1" fontAlgn="ctr" latinLnBrk="0" hangingPunct="1"/>
                      <a:r>
                        <a:rPr lang="ru-RU" sz="1350" u="none" strike="noStrike" kern="1200" dirty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576</a:t>
                      </a: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80160" rtl="0" eaLnBrk="1" fontAlgn="ctr" latinLnBrk="0" hangingPunct="1"/>
                      <a:r>
                        <a:rPr lang="ru-RU" sz="1350" u="none" strike="noStrike" kern="1200" dirty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2176</a:t>
                      </a: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</a:tr>
              <a:tr h="127443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Текущая возможность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 </a:t>
                      </a:r>
                      <a:r>
                        <a:rPr lang="ru-RU" sz="1350" u="none" strike="noStrike" dirty="0" smtClean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0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 </a:t>
                      </a:r>
                      <a:endParaRPr lang="ru-RU" sz="1350" b="0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32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32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32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32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32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32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32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224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</a:tr>
              <a:tr h="127443">
                <a:tc vMerge="1">
                  <a:txBody>
                    <a:bodyPr/>
                    <a:lstStyle/>
                    <a:p>
                      <a:pPr algn="ctr" rtl="0" fontAlgn="ctr"/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ЭПВС-ВСУ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1280160" rtl="0" eaLnBrk="1" fontAlgn="ctr" latinLnBrk="0" hangingPunct="1"/>
                      <a:r>
                        <a:rPr lang="ru-RU" sz="1350" u="none" strike="noStrike" kern="1200" dirty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Требуется</a:t>
                      </a: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80160" rtl="0" eaLnBrk="1" fontAlgn="ctr" latinLnBrk="0" hangingPunct="1"/>
                      <a:r>
                        <a:rPr lang="ru-RU" sz="1350" u="none" strike="noStrike" kern="1200" dirty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80160" rtl="0" eaLnBrk="1" fontAlgn="ctr" latinLnBrk="0" hangingPunct="1"/>
                      <a:r>
                        <a:rPr lang="ru-RU" sz="1350" u="none" strike="noStrike" kern="1200" dirty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80160" rtl="0" eaLnBrk="1" fontAlgn="ctr" latinLnBrk="0" hangingPunct="1"/>
                      <a:r>
                        <a:rPr lang="ru-RU" sz="1350" u="none" strike="noStrike" kern="1200" dirty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80160" rtl="0" eaLnBrk="1" fontAlgn="ctr" latinLnBrk="0" hangingPunct="1"/>
                      <a:r>
                        <a:rPr lang="ru-RU" sz="1350" u="none" strike="noStrike" kern="1200" dirty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24</a:t>
                      </a: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80160" rtl="0" eaLnBrk="1" fontAlgn="ctr" latinLnBrk="0" hangingPunct="1"/>
                      <a:r>
                        <a:rPr lang="ru-RU" sz="1350" u="none" strike="noStrike" kern="1200" dirty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44</a:t>
                      </a: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80160" rtl="0" eaLnBrk="1" fontAlgn="ctr" latinLnBrk="0" hangingPunct="1"/>
                      <a:r>
                        <a:rPr lang="ru-RU" sz="1350" u="none" strike="noStrike" kern="1200" dirty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72</a:t>
                      </a: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80160" rtl="0" eaLnBrk="1" fontAlgn="ctr" latinLnBrk="0" hangingPunct="1"/>
                      <a:r>
                        <a:rPr lang="ru-RU" sz="1350" u="none" strike="noStrike" kern="1200" dirty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100</a:t>
                      </a: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80160" rtl="0" eaLnBrk="1" fontAlgn="ctr" latinLnBrk="0" hangingPunct="1"/>
                      <a:r>
                        <a:rPr lang="ru-RU" sz="1350" u="none" strike="noStrike" kern="1200" dirty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144</a:t>
                      </a: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80160" rtl="0" eaLnBrk="1" fontAlgn="ctr" latinLnBrk="0" hangingPunct="1"/>
                      <a:r>
                        <a:rPr lang="ru-RU" sz="1350" u="none" strike="noStrike" kern="1200" dirty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144</a:t>
                      </a: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80160" rtl="0" eaLnBrk="1" fontAlgn="ctr" latinLnBrk="0" hangingPunct="1"/>
                      <a:r>
                        <a:rPr lang="ru-RU" sz="1350" u="none" strike="noStrike" kern="1200" dirty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544</a:t>
                      </a: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</a:tr>
              <a:tr h="127443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Текущая возможность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0" i="0" u="none" strike="noStrike" dirty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0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 </a:t>
                      </a:r>
                      <a:endParaRPr lang="ru-RU" sz="1350" b="0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56</a:t>
                      </a:r>
                      <a:endParaRPr lang="ru-RU" sz="1350" b="0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</a:tr>
              <a:tr h="127443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>
                          <a:effectLst/>
                          <a:latin typeface="PF Centro Sans Pro" panose="02000500000000020004" pitchFamily="50" charset="0"/>
                        </a:rPr>
                        <a:t>СПМК-МС-21</a:t>
                      </a:r>
                      <a:endParaRPr lang="ru-RU" sz="1350" b="1" i="0" u="none" strike="noStrike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1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effectLst/>
                          <a:latin typeface="PF Centro Sans Pro" panose="02000500000000020004" pitchFamily="50" charset="0"/>
                        </a:rPr>
                        <a:t>Требуется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6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12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22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36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50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72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72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272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</a:tr>
              <a:tr h="127443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Текущая возможность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0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0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28</a:t>
                      </a:r>
                      <a:r>
                        <a:rPr lang="ru-RU" sz="1350" u="none" strike="noStrike" dirty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 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</a:tr>
              <a:tr h="127443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>
                          <a:effectLst/>
                          <a:latin typeface="PF Centro Sans Pro" panose="02000500000000020004" pitchFamily="50" charset="0"/>
                        </a:rPr>
                        <a:t>УГДФ</a:t>
                      </a:r>
                      <a:endParaRPr lang="ru-RU" sz="1350" b="1" i="0" u="none" strike="noStrike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1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Требуется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6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>
                          <a:effectLst/>
                          <a:latin typeface="PF Centro Sans Pro" panose="02000500000000020004" pitchFamily="50" charset="0"/>
                        </a:rPr>
                        <a:t>12</a:t>
                      </a:r>
                      <a:endParaRPr lang="ru-RU" sz="1350" b="1" i="0" u="none" strike="noStrike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22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>
                          <a:effectLst/>
                          <a:latin typeface="PF Centro Sans Pro" panose="02000500000000020004" pitchFamily="50" charset="0"/>
                        </a:rPr>
                        <a:t>36</a:t>
                      </a:r>
                      <a:endParaRPr lang="ru-RU" sz="1350" b="1" i="0" u="none" strike="noStrike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>
                          <a:effectLst/>
                          <a:latin typeface="PF Centro Sans Pro" panose="02000500000000020004" pitchFamily="50" charset="0"/>
                        </a:rPr>
                        <a:t>50</a:t>
                      </a:r>
                      <a:endParaRPr lang="ru-RU" sz="1350" b="1" i="0" u="none" strike="noStrike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>
                          <a:effectLst/>
                          <a:latin typeface="PF Centro Sans Pro" panose="02000500000000020004" pitchFamily="50" charset="0"/>
                        </a:rPr>
                        <a:t>72</a:t>
                      </a:r>
                      <a:endParaRPr lang="ru-RU" sz="1350" b="1" i="0" u="none" strike="noStrike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>
                          <a:effectLst/>
                          <a:latin typeface="PF Centro Sans Pro" panose="02000500000000020004" pitchFamily="50" charset="0"/>
                        </a:rPr>
                        <a:t>72</a:t>
                      </a:r>
                      <a:endParaRPr lang="ru-RU" sz="1350" b="1" i="0" u="none" strike="noStrike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272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</a:tr>
              <a:tr h="127443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Текущая возможность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0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0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28</a:t>
                      </a:r>
                      <a:r>
                        <a:rPr lang="ru-RU" sz="1350" u="none" strike="noStrike" dirty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 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</a:tr>
              <a:tr h="127443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СОЛС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1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Требуется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6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12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22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36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50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72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72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272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</a:tr>
              <a:tr h="127443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Текущая возможность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0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0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28</a:t>
                      </a:r>
                      <a:r>
                        <a:rPr lang="ru-RU" sz="1350" u="none" strike="noStrike" dirty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 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</a:tr>
              <a:tr h="127443">
                <a:tc rowSpan="12"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МС-21 в составе ПД-14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  <a:p>
                      <a:pPr algn="ctr" rtl="0" fontAlgn="ctr"/>
                      <a:r>
                        <a:rPr lang="ru-RU" sz="1350" u="none" strike="noStrike" dirty="0">
                          <a:effectLst/>
                        </a:rPr>
                        <a:t> 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  <a:p>
                      <a:pPr algn="ctr" rtl="0" fontAlgn="ctr"/>
                      <a:r>
                        <a:rPr lang="ru-RU" sz="1350" u="none" strike="noStrike" dirty="0">
                          <a:effectLst/>
                        </a:rPr>
                        <a:t> 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МЗС-14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Требуется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12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24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>
                          <a:effectLst/>
                          <a:latin typeface="PF Centro Sans Pro" panose="02000500000000020004" pitchFamily="50" charset="0"/>
                        </a:rPr>
                        <a:t>44</a:t>
                      </a:r>
                      <a:endParaRPr lang="ru-RU" sz="1350" b="1" i="0" u="none" strike="noStrike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72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100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144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144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544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</a:tr>
              <a:tr h="127443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Текущая возможность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0" i="0" u="none" strike="noStrike" dirty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0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 </a:t>
                      </a:r>
                      <a:endParaRPr lang="ru-RU" sz="1350" b="0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56</a:t>
                      </a:r>
                      <a:endParaRPr lang="ru-RU" sz="1350" b="0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</a:tr>
              <a:tr h="127443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ПСФ-14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endParaRPr lang="ru-RU" sz="1350" b="0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Требуется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1" i="0" u="none" strike="noStrike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12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24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44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72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100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144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144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544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</a:tr>
              <a:tr h="127443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Текущая возможность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0" i="0" u="none" strike="noStrike" dirty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0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 </a:t>
                      </a:r>
                      <a:endParaRPr lang="ru-RU" sz="1350" b="0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56</a:t>
                      </a:r>
                      <a:endParaRPr lang="ru-RU" sz="1350" b="0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</a:tr>
              <a:tr h="127443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ССП-ПД14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endParaRPr lang="ru-RU" sz="1350" b="0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Требуется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12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>
                          <a:effectLst/>
                          <a:latin typeface="PF Centro Sans Pro" panose="02000500000000020004" pitchFamily="50" charset="0"/>
                        </a:rPr>
                        <a:t>24</a:t>
                      </a:r>
                      <a:endParaRPr lang="ru-RU" sz="1350" b="1" i="0" u="none" strike="noStrike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44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>
                          <a:effectLst/>
                          <a:latin typeface="PF Centro Sans Pro" panose="02000500000000020004" pitchFamily="50" charset="0"/>
                        </a:rPr>
                        <a:t>72</a:t>
                      </a:r>
                      <a:endParaRPr lang="ru-RU" sz="1350" b="1" i="0" u="none" strike="noStrike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100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144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144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544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</a:tr>
              <a:tr h="127443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Текущая возможность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0" i="0" u="none" strike="noStrike" dirty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0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 </a:t>
                      </a:r>
                      <a:endParaRPr lang="ru-RU" sz="1350" b="0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56</a:t>
                      </a:r>
                      <a:endParaRPr lang="ru-RU" sz="1350" b="0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</a:tr>
              <a:tr h="127443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СЭПК-14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endParaRPr lang="ru-RU" sz="1350" b="0" i="0" u="none" strike="noStrike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Требуется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12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24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44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72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>
                          <a:effectLst/>
                          <a:latin typeface="PF Centro Sans Pro" panose="02000500000000020004" pitchFamily="50" charset="0"/>
                        </a:rPr>
                        <a:t>100</a:t>
                      </a:r>
                      <a:endParaRPr lang="ru-RU" sz="1350" b="1" i="0" u="none" strike="noStrike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144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144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544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</a:tr>
              <a:tr h="127443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>
                          <a:effectLst/>
                          <a:latin typeface="PF Centro Sans Pro" panose="02000500000000020004" pitchFamily="50" charset="0"/>
                        </a:rPr>
                        <a:t>Текущая возможность</a:t>
                      </a:r>
                      <a:endParaRPr lang="ru-RU" sz="1350" b="1" i="0" u="none" strike="noStrike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0" i="0" u="none" strike="noStrike" dirty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0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 </a:t>
                      </a:r>
                      <a:endParaRPr lang="ru-RU" sz="1350" b="0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56</a:t>
                      </a:r>
                      <a:endParaRPr lang="ru-RU" sz="1350" b="0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</a:tr>
              <a:tr h="127443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effectLst/>
                          <a:latin typeface="PF Centro Sans Pro" panose="02000500000000020004" pitchFamily="50" charset="0"/>
                        </a:rPr>
                        <a:t>ЭМТ-14РУ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endParaRPr lang="ru-RU" sz="1350" b="0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Требуется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12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24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44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72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100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144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144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544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</a:tr>
              <a:tr h="127443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>
                          <a:effectLst/>
                          <a:latin typeface="PF Centro Sans Pro" panose="02000500000000020004" pitchFamily="50" charset="0"/>
                        </a:rPr>
                        <a:t>Текущая возможность</a:t>
                      </a:r>
                      <a:endParaRPr lang="ru-RU" sz="1350" b="1" i="0" u="none" strike="noStrike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0" i="0" u="none" strike="noStrike" dirty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0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 </a:t>
                      </a:r>
                      <a:endParaRPr lang="ru-RU" sz="1350" b="0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56</a:t>
                      </a:r>
                      <a:endParaRPr lang="ru-RU" sz="1350" b="0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</a:tr>
              <a:tr h="127443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ЭРУ-ПД14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endParaRPr lang="ru-RU" sz="1350" b="0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Требуется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0" u="none" strike="noStrike" dirty="0">
                          <a:solidFill>
                            <a:schemeClr val="tx1"/>
                          </a:solidFill>
                          <a:effectLst/>
                          <a:latin typeface="PF Centro Sans Pro" panose="02000500000000020004" pitchFamily="50" charset="0"/>
                        </a:rPr>
                        <a:t>6</a:t>
                      </a:r>
                      <a:endParaRPr lang="ru-RU" sz="1350" b="0" i="0" u="none" strike="noStrike" dirty="0">
                        <a:solidFill>
                          <a:schemeClr val="tx1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0" u="none" strike="noStrike" dirty="0">
                          <a:solidFill>
                            <a:schemeClr val="tx1"/>
                          </a:solidFill>
                          <a:effectLst/>
                          <a:latin typeface="PF Centro Sans Pro" panose="02000500000000020004" pitchFamily="50" charset="0"/>
                        </a:rPr>
                        <a:t>12</a:t>
                      </a:r>
                      <a:endParaRPr lang="ru-RU" sz="1350" b="0" i="0" u="none" strike="noStrike" dirty="0">
                        <a:solidFill>
                          <a:schemeClr val="tx1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0" u="none" strike="noStrike" dirty="0">
                          <a:solidFill>
                            <a:schemeClr val="tx1"/>
                          </a:solidFill>
                          <a:effectLst/>
                          <a:latin typeface="PF Centro Sans Pro" panose="02000500000000020004" pitchFamily="50" charset="0"/>
                        </a:rPr>
                        <a:t>22</a:t>
                      </a:r>
                      <a:endParaRPr lang="ru-RU" sz="1350" b="0" i="0" u="none" strike="noStrike" dirty="0">
                        <a:solidFill>
                          <a:schemeClr val="tx1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0" u="none" strike="noStrike" dirty="0">
                          <a:solidFill>
                            <a:schemeClr val="tx1"/>
                          </a:solidFill>
                          <a:effectLst/>
                          <a:latin typeface="PF Centro Sans Pro" panose="02000500000000020004" pitchFamily="50" charset="0"/>
                        </a:rPr>
                        <a:t>36</a:t>
                      </a:r>
                      <a:endParaRPr lang="ru-RU" sz="1350" b="0" i="0" u="none" strike="noStrike" dirty="0">
                        <a:solidFill>
                          <a:schemeClr val="tx1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0" u="none" strike="noStrike" dirty="0">
                          <a:solidFill>
                            <a:schemeClr val="tx1"/>
                          </a:solidFill>
                          <a:effectLst/>
                          <a:latin typeface="PF Centro Sans Pro" panose="02000500000000020004" pitchFamily="50" charset="0"/>
                        </a:rPr>
                        <a:t>50</a:t>
                      </a:r>
                      <a:endParaRPr lang="ru-RU" sz="1350" b="0" i="0" u="none" strike="noStrike" dirty="0">
                        <a:solidFill>
                          <a:schemeClr val="tx1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0" u="none" strike="noStrike" dirty="0">
                          <a:solidFill>
                            <a:schemeClr val="tx1"/>
                          </a:solidFill>
                          <a:effectLst/>
                          <a:latin typeface="PF Centro Sans Pro" panose="02000500000000020004" pitchFamily="50" charset="0"/>
                        </a:rPr>
                        <a:t>72</a:t>
                      </a:r>
                      <a:endParaRPr lang="ru-RU" sz="1350" b="0" i="0" u="none" strike="noStrike" dirty="0">
                        <a:solidFill>
                          <a:schemeClr val="tx1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0" u="none" strike="noStrike" dirty="0">
                          <a:solidFill>
                            <a:schemeClr val="tx1"/>
                          </a:solidFill>
                          <a:effectLst/>
                          <a:latin typeface="PF Centro Sans Pro" panose="02000500000000020004" pitchFamily="50" charset="0"/>
                        </a:rPr>
                        <a:t>72</a:t>
                      </a:r>
                      <a:endParaRPr lang="ru-RU" sz="1350" b="0" i="0" u="none" strike="noStrike" dirty="0">
                        <a:solidFill>
                          <a:schemeClr val="tx1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0" u="none" strike="noStrike" dirty="0">
                          <a:solidFill>
                            <a:schemeClr val="tx1"/>
                          </a:solidFill>
                          <a:effectLst/>
                          <a:latin typeface="PF Centro Sans Pro" panose="02000500000000020004" pitchFamily="50" charset="0"/>
                        </a:rPr>
                        <a:t>272</a:t>
                      </a:r>
                      <a:endParaRPr lang="ru-RU" sz="1350" b="0" i="0" u="none" strike="noStrike" dirty="0">
                        <a:solidFill>
                          <a:schemeClr val="tx1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</a:tr>
              <a:tr h="127443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Текущая возможность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0" i="0" u="none" strike="noStrike" dirty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0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 </a:t>
                      </a:r>
                      <a:endParaRPr lang="ru-RU" sz="1350" b="0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endParaRPr lang="ru-RU" sz="1350" b="0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endParaRPr lang="ru-RU" sz="1350" b="0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endParaRPr lang="ru-RU" sz="1350" b="0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endParaRPr lang="ru-RU" sz="1350" b="0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endParaRPr lang="ru-RU" sz="1350" b="0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endParaRPr lang="ru-RU" sz="1350" b="0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endParaRPr lang="ru-RU" sz="1350" b="0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14</a:t>
                      </a:r>
                      <a:endParaRPr lang="ru-RU" sz="1350" b="0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</a:tr>
            </a:tbl>
          </a:graphicData>
        </a:graphic>
      </p:graphicFrame>
      <p:sp>
        <p:nvSpPr>
          <p:cNvPr id="12" name="Текст 2"/>
          <p:cNvSpPr>
            <a:spLocks noGrp="1"/>
          </p:cNvSpPr>
          <p:nvPr>
            <p:ph type="body" sz="quarter" idx="13"/>
          </p:nvPr>
        </p:nvSpPr>
        <p:spPr>
          <a:xfrm>
            <a:off x="281429" y="2107865"/>
            <a:ext cx="12217796" cy="787898"/>
          </a:xfrm>
        </p:spPr>
        <p:txBody>
          <a:bodyPr vert="horz" lIns="91440" tIns="45720" rIns="91440" bIns="45720" rtlCol="0">
            <a:noAutofit/>
          </a:bodyPr>
          <a:lstStyle/>
          <a:p>
            <a:pPr marL="0" indent="0">
              <a:buNone/>
            </a:pPr>
            <a:r>
              <a:rPr lang="ru-RU" sz="2000" noProof="1" smtClean="0">
                <a:latin typeface="PF Centro Sans Pro" panose="02000500000000020004" pitchFamily="50" charset="0"/>
              </a:rPr>
              <a:t>Текущие </a:t>
            </a:r>
            <a:r>
              <a:rPr lang="ru-RU" sz="2000" dirty="0" smtClean="0">
                <a:latin typeface="PF Centro Sans Pro" panose="02000500000000020004" pitchFamily="50" charset="0"/>
              </a:rPr>
              <a:t>производственные возможности предприятия позволяют обеспечить выпуск изделий </a:t>
            </a:r>
            <a:r>
              <a:rPr lang="ru-RU" sz="2000" dirty="0" smtClean="0">
                <a:latin typeface="PF Centro Sans Pro" panose="02000500000000020004" pitchFamily="50" charset="0"/>
              </a:rPr>
              <a:t>для  самолётов в следующих </a:t>
            </a:r>
            <a:r>
              <a:rPr lang="ru-RU" sz="2000" dirty="0" smtClean="0">
                <a:latin typeface="PF Centro Sans Pro" panose="02000500000000020004" pitchFamily="50" charset="0"/>
              </a:rPr>
              <a:t>объемах.</a:t>
            </a:r>
            <a:endParaRPr lang="ru-RU" sz="2000" noProof="1">
              <a:latin typeface="PF Centro Sans Pro" panose="02000500000000020004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42663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494268" y="-765063"/>
          <a:ext cx="1893" cy="18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476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494268" y="-765063"/>
                        <a:ext cx="1893" cy="18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492371" y="-766960"/>
            <a:ext cx="189373" cy="189373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432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5" name="Текст 2"/>
          <p:cNvSpPr>
            <a:spLocks noGrp="1"/>
          </p:cNvSpPr>
          <p:nvPr>
            <p:ph type="body" sz="quarter" idx="13"/>
          </p:nvPr>
        </p:nvSpPr>
        <p:spPr>
          <a:xfrm>
            <a:off x="584923" y="760059"/>
            <a:ext cx="11481671" cy="787898"/>
          </a:xfrm>
        </p:spPr>
        <p:txBody>
          <a:bodyPr vert="horz" lIns="91440" tIns="45720" rIns="91440" bIns="45720" rtlCol="0">
            <a:noAutofit/>
          </a:bodyPr>
          <a:lstStyle/>
          <a:p>
            <a:pPr marL="0" indent="0">
              <a:buNone/>
            </a:pPr>
            <a:r>
              <a:rPr lang="ru-RU" sz="2000" b="1" noProof="1" smtClean="0">
                <a:latin typeface="PF Centro Sans Pro" panose="02000500000000020004" pitchFamily="50" charset="0"/>
              </a:rPr>
              <a:t>Текущие </a:t>
            </a:r>
            <a:r>
              <a:rPr lang="ru-RU" sz="2000" b="1" dirty="0" smtClean="0">
                <a:latin typeface="PF Centro Sans Pro" panose="02000500000000020004" pitchFamily="50" charset="0"/>
              </a:rPr>
              <a:t>производственные возможности предприятия</a:t>
            </a:r>
            <a:endParaRPr lang="ru-RU" sz="2000" b="1" noProof="1">
              <a:latin typeface="PF Centro Sans Pro" panose="02000500000000020004" pitchFamily="50" charset="0"/>
            </a:endParaRPr>
          </a:p>
        </p:txBody>
      </p:sp>
      <p:sp>
        <p:nvSpPr>
          <p:cNvPr id="30" name="Rectangle 6"/>
          <p:cNvSpPr/>
          <p:nvPr/>
        </p:nvSpPr>
        <p:spPr>
          <a:xfrm>
            <a:off x="0" y="1711060"/>
            <a:ext cx="12801600" cy="123401"/>
          </a:xfrm>
          <a:prstGeom prst="rect">
            <a:avLst/>
          </a:prstGeom>
          <a:solidFill>
            <a:srgbClr val="5E85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5"/>
          </p:nvPr>
        </p:nvSpPr>
        <p:spPr>
          <a:xfrm>
            <a:off x="11024256" y="8984394"/>
            <a:ext cx="1454022" cy="511175"/>
          </a:xfrm>
        </p:spPr>
        <p:txBody>
          <a:bodyPr/>
          <a:lstStyle/>
          <a:p>
            <a:pPr algn="r"/>
            <a:fld id="{507BA088-F718-4C29-B79D-C60B6090533A}" type="datetime1">
              <a:rPr lang="ru-RU" sz="1600" smtClean="0">
                <a:solidFill>
                  <a:srgbClr val="40C4F4"/>
                </a:solidFill>
                <a:latin typeface="PF Centro Sans Pro" panose="02000500000000020004" pitchFamily="50" charset="0"/>
              </a:rPr>
              <a:t>28.11.2022</a:t>
            </a:fld>
            <a:endParaRPr lang="en-US" sz="1600" dirty="0">
              <a:solidFill>
                <a:srgbClr val="40C4F4"/>
              </a:solidFill>
              <a:latin typeface="PF Centro Sans Pro" panose="02000500000000020004" pitchFamily="50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6447" y="496066"/>
            <a:ext cx="3432048" cy="749808"/>
          </a:xfrm>
          <a:prstGeom prst="rect">
            <a:avLst/>
          </a:prstGeom>
        </p:spPr>
      </p:pic>
      <p:sp>
        <p:nvSpPr>
          <p:cNvPr id="8" name="Нижний колонтитул 7"/>
          <p:cNvSpPr>
            <a:spLocks noGrp="1"/>
          </p:cNvSpPr>
          <p:nvPr>
            <p:ph type="ftr" sz="quarter" idx="16"/>
          </p:nvPr>
        </p:nvSpPr>
        <p:spPr>
          <a:xfrm>
            <a:off x="455032" y="9085668"/>
            <a:ext cx="1826638" cy="382962"/>
          </a:xfrm>
        </p:spPr>
        <p:txBody>
          <a:bodyPr/>
          <a:lstStyle/>
          <a:p>
            <a:pPr algn="l"/>
            <a:r>
              <a:rPr lang="ru-RU" sz="2200" baseline="30000" dirty="0">
                <a:solidFill>
                  <a:srgbClr val="00B0F0"/>
                </a:solidFill>
                <a:latin typeface="PF Centro Sans Pro" panose="02000500000000020004" pitchFamily="50" charset="0"/>
              </a:rPr>
              <a:t>АО "Электропривод"</a:t>
            </a:r>
            <a:endParaRPr lang="en-US" sz="2200" baseline="30000" dirty="0">
              <a:solidFill>
                <a:srgbClr val="00B0F0"/>
              </a:solidFill>
              <a:latin typeface="PF Centro Sans Pro" panose="02000500000000020004" pitchFamily="50" charset="0"/>
            </a:endParaRPr>
          </a:p>
        </p:txBody>
      </p:sp>
      <p:sp>
        <p:nvSpPr>
          <p:cNvPr id="50" name="Rectangle 7"/>
          <p:cNvSpPr>
            <a:spLocks noChangeArrowheads="1"/>
          </p:cNvSpPr>
          <p:nvPr/>
        </p:nvSpPr>
        <p:spPr bwMode="auto">
          <a:xfrm>
            <a:off x="96698" y="3443993"/>
            <a:ext cx="184731" cy="5133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 sz="2736"/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3187264"/>
              </p:ext>
            </p:extLst>
          </p:nvPr>
        </p:nvGraphicFramePr>
        <p:xfrm>
          <a:off x="281427" y="2594054"/>
          <a:ext cx="12196851" cy="585078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80947"/>
                <a:gridCol w="1911021"/>
                <a:gridCol w="531340"/>
                <a:gridCol w="2099137"/>
                <a:gridCol w="751948"/>
                <a:gridCol w="611755"/>
                <a:gridCol w="611755"/>
                <a:gridCol w="611755"/>
                <a:gridCol w="611755"/>
                <a:gridCol w="611755"/>
                <a:gridCol w="611755"/>
                <a:gridCol w="611755"/>
                <a:gridCol w="611755"/>
                <a:gridCol w="828418"/>
              </a:tblGrid>
              <a:tr h="499676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 dirty="0">
                          <a:solidFill>
                            <a:schemeClr val="bg1"/>
                          </a:solidFill>
                          <a:effectLst/>
                          <a:latin typeface="PF Centro Sans Pro" panose="02000500000000020004" pitchFamily="50" charset="0"/>
                        </a:rPr>
                        <a:t>Объект</a:t>
                      </a:r>
                      <a:endParaRPr lang="ru-RU" sz="1350" b="1" i="0" u="none" strike="noStrike" dirty="0">
                        <a:solidFill>
                          <a:schemeClr val="bg1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5E85C4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 dirty="0">
                          <a:solidFill>
                            <a:schemeClr val="bg1"/>
                          </a:solidFill>
                          <a:effectLst/>
                          <a:latin typeface="PF Centro Sans Pro" panose="02000500000000020004" pitchFamily="50" charset="0"/>
                        </a:rPr>
                        <a:t>Изделие</a:t>
                      </a:r>
                      <a:endParaRPr lang="ru-RU" sz="1350" b="1" i="0" u="none" strike="noStrike" dirty="0">
                        <a:solidFill>
                          <a:schemeClr val="bg1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5E85C4"/>
                    </a:solidFill>
                  </a:tcPr>
                </a:tc>
                <a:tc rowSpan="2" gridSpan="2"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PF Centro Sans Pro" panose="02000500000000020004" pitchFamily="50" charset="0"/>
                        </a:rPr>
                        <a:t>Самолетокомплект</a:t>
                      </a:r>
                      <a:r>
                        <a:rPr lang="ru-RU" sz="1350" b="1" u="none" strike="noStrike" dirty="0">
                          <a:solidFill>
                            <a:schemeClr val="bg1"/>
                          </a:solidFill>
                          <a:effectLst/>
                          <a:latin typeface="PF Centro Sans Pro" panose="02000500000000020004" pitchFamily="50" charset="0"/>
                        </a:rPr>
                        <a:t> </a:t>
                      </a:r>
                      <a:endParaRPr lang="ru-RU" sz="1350" b="1" i="0" u="none" strike="noStrike" dirty="0">
                        <a:solidFill>
                          <a:schemeClr val="bg1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5E85C4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10"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 dirty="0">
                          <a:solidFill>
                            <a:schemeClr val="bg1"/>
                          </a:solidFill>
                          <a:effectLst/>
                          <a:latin typeface="PF Centro Sans Pro" panose="02000500000000020004" pitchFamily="50" charset="0"/>
                        </a:rPr>
                        <a:t>Имеющиеся производственные мощности без учета дополнительных инвестиций, </a:t>
                      </a:r>
                      <a:r>
                        <a:rPr lang="ru-RU" sz="1350" b="1" u="none" strike="noStrike" dirty="0" err="1">
                          <a:solidFill>
                            <a:schemeClr val="bg1"/>
                          </a:solidFill>
                          <a:effectLst/>
                          <a:latin typeface="PF Centro Sans Pro" panose="02000500000000020004" pitchFamily="50" charset="0"/>
                        </a:rPr>
                        <a:t>самолётокомплектов</a:t>
                      </a:r>
                      <a:r>
                        <a:rPr lang="ru-RU" sz="1350" b="1" u="none" strike="noStrike" dirty="0">
                          <a:solidFill>
                            <a:schemeClr val="bg1"/>
                          </a:solidFill>
                          <a:effectLst/>
                          <a:latin typeface="PF Centro Sans Pro" panose="02000500000000020004" pitchFamily="50" charset="0"/>
                        </a:rPr>
                        <a:t> в год</a:t>
                      </a:r>
                      <a:endParaRPr lang="ru-RU" sz="1350" b="1" i="0" u="none" strike="noStrike" dirty="0">
                        <a:solidFill>
                          <a:schemeClr val="bg1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5E85C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27949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>
                          <a:solidFill>
                            <a:schemeClr val="bg1"/>
                          </a:solidFill>
                          <a:effectLst/>
                          <a:latin typeface="PF Centro Sans Pro" panose="02000500000000020004" pitchFamily="50" charset="0"/>
                        </a:rPr>
                        <a:t>2022</a:t>
                      </a:r>
                      <a:endParaRPr lang="ru-RU" sz="1350" b="1" i="0" u="none" strike="noStrike">
                        <a:solidFill>
                          <a:schemeClr val="bg1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5E85C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>
                          <a:solidFill>
                            <a:schemeClr val="bg1"/>
                          </a:solidFill>
                          <a:effectLst/>
                          <a:latin typeface="PF Centro Sans Pro" panose="02000500000000020004" pitchFamily="50" charset="0"/>
                        </a:rPr>
                        <a:t>2023</a:t>
                      </a:r>
                      <a:endParaRPr lang="ru-RU" sz="1350" b="1" i="0" u="none" strike="noStrike">
                        <a:solidFill>
                          <a:schemeClr val="bg1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5E85C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>
                          <a:solidFill>
                            <a:schemeClr val="bg1"/>
                          </a:solidFill>
                          <a:effectLst/>
                          <a:latin typeface="PF Centro Sans Pro" panose="02000500000000020004" pitchFamily="50" charset="0"/>
                        </a:rPr>
                        <a:t>2024</a:t>
                      </a:r>
                      <a:endParaRPr lang="ru-RU" sz="1350" b="1" i="0" u="none" strike="noStrike">
                        <a:solidFill>
                          <a:schemeClr val="bg1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5E85C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>
                          <a:solidFill>
                            <a:schemeClr val="bg1"/>
                          </a:solidFill>
                          <a:effectLst/>
                          <a:latin typeface="PF Centro Sans Pro" panose="02000500000000020004" pitchFamily="50" charset="0"/>
                        </a:rPr>
                        <a:t>2025</a:t>
                      </a:r>
                      <a:endParaRPr lang="ru-RU" sz="1350" b="1" i="0" u="none" strike="noStrike">
                        <a:solidFill>
                          <a:schemeClr val="bg1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5E85C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>
                          <a:solidFill>
                            <a:schemeClr val="bg1"/>
                          </a:solidFill>
                          <a:effectLst/>
                          <a:latin typeface="PF Centro Sans Pro" panose="02000500000000020004" pitchFamily="50" charset="0"/>
                        </a:rPr>
                        <a:t>2026</a:t>
                      </a:r>
                      <a:endParaRPr lang="ru-RU" sz="1350" b="1" i="0" u="none" strike="noStrike">
                        <a:solidFill>
                          <a:schemeClr val="bg1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5E85C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>
                          <a:solidFill>
                            <a:schemeClr val="bg1"/>
                          </a:solidFill>
                          <a:effectLst/>
                          <a:latin typeface="PF Centro Sans Pro" panose="02000500000000020004" pitchFamily="50" charset="0"/>
                        </a:rPr>
                        <a:t>2027</a:t>
                      </a:r>
                      <a:endParaRPr lang="ru-RU" sz="1350" b="1" i="0" u="none" strike="noStrike">
                        <a:solidFill>
                          <a:schemeClr val="bg1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5E85C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>
                          <a:solidFill>
                            <a:schemeClr val="bg1"/>
                          </a:solidFill>
                          <a:effectLst/>
                          <a:latin typeface="PF Centro Sans Pro" panose="02000500000000020004" pitchFamily="50" charset="0"/>
                        </a:rPr>
                        <a:t>2028</a:t>
                      </a:r>
                      <a:endParaRPr lang="ru-RU" sz="1350" b="1" i="0" u="none" strike="noStrike">
                        <a:solidFill>
                          <a:schemeClr val="bg1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5E85C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 dirty="0">
                          <a:solidFill>
                            <a:schemeClr val="bg1"/>
                          </a:solidFill>
                          <a:effectLst/>
                          <a:latin typeface="PF Centro Sans Pro" panose="02000500000000020004" pitchFamily="50" charset="0"/>
                        </a:rPr>
                        <a:t>2029</a:t>
                      </a:r>
                      <a:endParaRPr lang="ru-RU" sz="1350" b="1" i="0" u="none" strike="noStrike" dirty="0">
                        <a:solidFill>
                          <a:schemeClr val="bg1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5E85C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 dirty="0">
                          <a:solidFill>
                            <a:schemeClr val="bg1"/>
                          </a:solidFill>
                          <a:effectLst/>
                          <a:latin typeface="PF Centro Sans Pro" panose="02000500000000020004" pitchFamily="50" charset="0"/>
                        </a:rPr>
                        <a:t>2030</a:t>
                      </a:r>
                      <a:endParaRPr lang="ru-RU" sz="1350" b="1" i="0" u="none" strike="noStrike" dirty="0">
                        <a:solidFill>
                          <a:schemeClr val="bg1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5E85C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 dirty="0">
                          <a:solidFill>
                            <a:schemeClr val="bg1"/>
                          </a:solidFill>
                          <a:effectLst/>
                          <a:latin typeface="PF Centro Sans Pro" panose="02000500000000020004" pitchFamily="50" charset="0"/>
                        </a:rPr>
                        <a:t>Итого</a:t>
                      </a:r>
                      <a:endParaRPr lang="ru-RU" sz="1350" b="1" i="0" u="none" strike="noStrike" dirty="0">
                        <a:solidFill>
                          <a:schemeClr val="bg1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5E85C4"/>
                    </a:solidFill>
                  </a:tcPr>
                </a:tc>
              </a:tr>
              <a:tr h="36214"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kern="1200" dirty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 </a:t>
                      </a:r>
                      <a:r>
                        <a:rPr lang="en-US" sz="135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SSJ-NEW</a:t>
                      </a:r>
                      <a:r>
                        <a:rPr lang="ru-RU" sz="1350" u="none" strike="noStrike" kern="1200" dirty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 gridSpan="3">
                  <a:txBody>
                    <a:bodyPr/>
                    <a:lstStyle/>
                    <a:p>
                      <a:pPr algn="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 </a:t>
                      </a:r>
                      <a:r>
                        <a:rPr lang="ru-RU" sz="1350" b="1" u="none" strike="noStrike" dirty="0" smtClean="0">
                          <a:effectLst/>
                          <a:latin typeface="PF Centro Sans Pro" panose="02000500000000020004" pitchFamily="50" charset="0"/>
                        </a:rPr>
                        <a:t>Требуется для </a:t>
                      </a:r>
                      <a:r>
                        <a:rPr lang="en-US" sz="1350" b="1" u="none" strike="noStrike" dirty="0" smtClean="0">
                          <a:effectLst/>
                          <a:latin typeface="PF Centro Sans Pro" panose="02000500000000020004" pitchFamily="50" charset="0"/>
                        </a:rPr>
                        <a:t>SSJ-NEW: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 dirty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 dirty="0"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 dirty="0">
                          <a:effectLst/>
                          <a:latin typeface="PF Centro Sans Pro" panose="02000500000000020004" pitchFamily="50" charset="0"/>
                        </a:rPr>
                        <a:t>20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>
                          <a:effectLst/>
                          <a:latin typeface="PF Centro Sans Pro" panose="02000500000000020004" pitchFamily="50" charset="0"/>
                        </a:rPr>
                        <a:t>20</a:t>
                      </a:r>
                      <a:endParaRPr lang="ru-RU" sz="1350" b="1" i="0" u="none" strike="noStrike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>
                          <a:effectLst/>
                          <a:latin typeface="PF Centro Sans Pro" panose="02000500000000020004" pitchFamily="50" charset="0"/>
                        </a:rPr>
                        <a:t>20</a:t>
                      </a:r>
                      <a:endParaRPr lang="ru-RU" sz="1350" b="1" i="0" u="none" strike="noStrike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>
                          <a:effectLst/>
                          <a:latin typeface="PF Centro Sans Pro" panose="02000500000000020004" pitchFamily="50" charset="0"/>
                        </a:rPr>
                        <a:t>20</a:t>
                      </a:r>
                      <a:endParaRPr lang="ru-RU" sz="1350" b="1" i="0" u="none" strike="noStrike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 dirty="0">
                          <a:effectLst/>
                          <a:latin typeface="PF Centro Sans Pro" panose="02000500000000020004" pitchFamily="50" charset="0"/>
                        </a:rPr>
                        <a:t>20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>
                          <a:effectLst/>
                          <a:latin typeface="PF Centro Sans Pro" panose="02000500000000020004" pitchFamily="50" charset="0"/>
                        </a:rPr>
                        <a:t>20</a:t>
                      </a:r>
                      <a:endParaRPr lang="ru-RU" sz="1350" b="1" i="0" u="none" strike="noStrike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 dirty="0">
                          <a:effectLst/>
                          <a:latin typeface="PF Centro Sans Pro" panose="02000500000000020004" pitchFamily="50" charset="0"/>
                        </a:rPr>
                        <a:t>20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 dirty="0">
                          <a:effectLst/>
                          <a:latin typeface="PF Centro Sans Pro" panose="02000500000000020004" pitchFamily="50" charset="0"/>
                        </a:rPr>
                        <a:t>142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</a:tr>
              <a:tr h="16952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 </a:t>
                      </a:r>
                      <a:r>
                        <a:rPr lang="ru-RU" sz="1350" b="1" u="none" strike="noStrike" dirty="0" smtClean="0">
                          <a:effectLst/>
                          <a:latin typeface="PF Centro Sans Pro" panose="02000500000000020004" pitchFamily="50" charset="0"/>
                        </a:rPr>
                        <a:t>Текущая возможность</a:t>
                      </a:r>
                      <a:r>
                        <a:rPr lang="en-US" sz="1350" b="1" u="none" strike="noStrike" dirty="0" smtClean="0">
                          <a:effectLst/>
                          <a:latin typeface="PF Centro Sans Pro" panose="02000500000000020004" pitchFamily="50" charset="0"/>
                        </a:rPr>
                        <a:t> </a:t>
                      </a:r>
                      <a:r>
                        <a:rPr lang="ru-RU" sz="1350" b="1" u="none" strike="noStrike" dirty="0" smtClean="0">
                          <a:effectLst/>
                          <a:latin typeface="PF Centro Sans Pro" panose="02000500000000020004" pitchFamily="50" charset="0"/>
                        </a:rPr>
                        <a:t>для </a:t>
                      </a:r>
                      <a:r>
                        <a:rPr lang="en-US" sz="1350" b="1" u="none" strike="noStrike" dirty="0" smtClean="0">
                          <a:effectLst/>
                          <a:latin typeface="PF Centro Sans Pro" panose="02000500000000020004" pitchFamily="50" charset="0"/>
                        </a:rPr>
                        <a:t>SSJ-NEW</a:t>
                      </a:r>
                      <a:r>
                        <a:rPr lang="ru-RU" sz="1350" b="1" u="none" strike="noStrike" dirty="0" smtClean="0">
                          <a:effectLst/>
                          <a:latin typeface="PF Centro Sans Pro" panose="02000500000000020004" pitchFamily="50" charset="0"/>
                        </a:rPr>
                        <a:t>: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1" i="0" u="none" strike="noStrike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endParaRPr lang="ru-RU" sz="1350" b="1" i="0" u="none" strike="noStrike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 dirty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 dirty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 dirty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 dirty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 dirty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 dirty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 dirty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1" u="none" strike="noStrike" dirty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30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</a:tr>
              <a:tr h="13716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СУМК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350" b="0" u="none" strike="noStrike" dirty="0">
                          <a:effectLst/>
                          <a:latin typeface="PF Centro Sans Pro" panose="02000500000000020004" pitchFamily="50" charset="0"/>
                        </a:rPr>
                        <a:t>1</a:t>
                      </a:r>
                      <a:endParaRPr lang="ru-RU" sz="1350" b="0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Требуется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0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20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20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20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20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20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20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20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142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Текущая возможность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0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endParaRPr lang="ru-RU" sz="1350" b="0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30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</a:tr>
              <a:tr h="0">
                <a:tc rowSpan="8">
                  <a:txBody>
                    <a:bodyPr/>
                    <a:lstStyle/>
                    <a:p>
                      <a:pPr marL="0" marR="0" indent="0" algn="ctr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5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SSJ-NEW</a:t>
                      </a:r>
                      <a:r>
                        <a:rPr lang="ru-RU" sz="135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 в составе ПД-8</a:t>
                      </a:r>
                      <a:endParaRPr lang="en-US" sz="1350" u="none" strike="noStrike" kern="1200" dirty="0" smtClean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effectLst/>
                          <a:latin typeface="PF Centro Sans Pro" panose="02000500000000020004" pitchFamily="50" charset="0"/>
                        </a:rPr>
                        <a:t>СЭПК-8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350" b="0" u="none" strike="noStrike" dirty="0"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endParaRPr lang="ru-RU" sz="1350" b="0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Требуется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0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40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40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40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40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40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40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40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284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</a:tr>
              <a:tr h="20574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Текущая возможность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 </a:t>
                      </a:r>
                      <a:r>
                        <a:rPr lang="ru-RU" sz="1350" u="none" strike="noStrike" dirty="0" smtClean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0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0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 </a:t>
                      </a:r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56</a:t>
                      </a:r>
                      <a:r>
                        <a:rPr lang="ru-RU" sz="1350" u="none" strike="noStrike" dirty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 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</a:tr>
              <a:tr h="3429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МЗС-14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3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endParaRPr lang="ru-RU" sz="1350" b="0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Требуется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0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40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40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40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40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40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40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40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284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Текущая возможность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0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0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 </a:t>
                      </a:r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56</a:t>
                      </a:r>
                      <a:r>
                        <a:rPr lang="ru-RU" sz="1350" u="none" strike="noStrike" dirty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 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</a:tr>
              <a:tr h="137160">
                <a:tc vMerge="1">
                  <a:txBody>
                    <a:bodyPr/>
                    <a:lstStyle/>
                    <a:p>
                      <a:pPr marL="0" marR="0" indent="0" algn="ctr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350" u="none" strike="noStrike" kern="1200" dirty="0" smtClean="0">
                        <a:solidFill>
                          <a:schemeClr val="dk1"/>
                        </a:solidFill>
                        <a:effectLst/>
                        <a:latin typeface="PF Centro Sans Pro" panose="02000500000000020004" pitchFamily="50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ПСФ-14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3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endParaRPr lang="ru-RU" sz="1350" b="0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Требуется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0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40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40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40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40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40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40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40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284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kern="1200" dirty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Текущая возможность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0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0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 </a:t>
                      </a:r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56</a:t>
                      </a:r>
                      <a:r>
                        <a:rPr lang="ru-RU" sz="1350" u="none" strike="noStrike" dirty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 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effectLst/>
                          <a:latin typeface="PF Centro Sans Pro" panose="02000500000000020004" pitchFamily="50" charset="0"/>
                        </a:rPr>
                        <a:t>ЭМТ-14РУ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3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PF Centro Sans Pro" panose="02000500000000020004" pitchFamily="50" charset="0"/>
                        </a:rPr>
                        <a:t>2</a:t>
                      </a:r>
                      <a:endParaRPr lang="ru-RU" sz="1350" b="0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kern="1200" dirty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Требуется</a:t>
                      </a: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0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4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40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40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40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40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40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40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40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284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indent="0" algn="l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5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Текущая возможность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1" i="0" u="none" strike="noStrike" dirty="0">
                        <a:solidFill>
                          <a:schemeClr val="tx1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1" i="0" u="none" strike="noStrike" dirty="0">
                        <a:solidFill>
                          <a:schemeClr val="tx1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 </a:t>
                      </a:r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8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56</a:t>
                      </a:r>
                      <a:r>
                        <a:rPr lang="ru-RU" sz="1350" u="none" strike="noStrike" dirty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 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</a:tr>
              <a:tr h="0">
                <a:tc rowSpan="10"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effectLst/>
                          <a:latin typeface="PF Centro Sans Pro" panose="02000500000000020004" pitchFamily="50" charset="0"/>
                        </a:rPr>
                        <a:t>ТВРС-44 "Ладога"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gridSpan="3">
                  <a:txBody>
                    <a:bodyPr/>
                    <a:lstStyle/>
                    <a:p>
                      <a:pPr marL="0" marR="0" indent="0" algn="r" defTabSz="128016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50" b="1" u="none" strike="noStrike" dirty="0" smtClean="0">
                          <a:effectLst/>
                          <a:latin typeface="PF Centro Sans Pro" panose="02000500000000020004" pitchFamily="50" charset="0"/>
                        </a:rPr>
                        <a:t>Требуется для ТВРС-44 "Ладога</a:t>
                      </a:r>
                      <a:r>
                        <a:rPr lang="en-US" sz="1350" b="1" u="none" strike="noStrike" dirty="0" smtClean="0">
                          <a:effectLst/>
                          <a:latin typeface="PF Centro Sans Pro" panose="02000500000000020004" pitchFamily="50" charset="0"/>
                        </a:rPr>
                        <a:t>”</a:t>
                      </a:r>
                      <a:r>
                        <a:rPr lang="ru-RU" sz="1350" b="1" u="none" strike="noStrike" dirty="0" smtClean="0">
                          <a:effectLst/>
                          <a:latin typeface="PF Centro Sans Pro" panose="02000500000000020004" pitchFamily="50" charset="0"/>
                        </a:rPr>
                        <a:t>:</a:t>
                      </a:r>
                      <a:endParaRPr lang="ru-RU" sz="1350" b="1" i="0" u="none" strike="noStrike" dirty="0" smtClean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15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25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25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25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25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25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140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</a:tr>
              <a:tr h="249838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gridSpan="3">
                  <a:txBody>
                    <a:bodyPr/>
                    <a:lstStyle/>
                    <a:p>
                      <a:pPr algn="r" rtl="0" fontAlgn="ctr"/>
                      <a:r>
                        <a:rPr lang="ru-RU" sz="1350" b="1" u="none" strike="noStrike" dirty="0">
                          <a:effectLst/>
                          <a:latin typeface="PF Centro Sans Pro" panose="02000500000000020004" pitchFamily="50" charset="0"/>
                        </a:rPr>
                        <a:t>Текущая </a:t>
                      </a:r>
                      <a:r>
                        <a:rPr lang="ru-RU" sz="1350" b="1" u="none" strike="noStrike" dirty="0" smtClean="0">
                          <a:effectLst/>
                          <a:latin typeface="PF Centro Sans Pro" panose="02000500000000020004" pitchFamily="50" charset="0"/>
                        </a:rPr>
                        <a:t>возможность</a:t>
                      </a:r>
                      <a:r>
                        <a:rPr lang="en-US" sz="1350" b="1" u="none" strike="noStrike" dirty="0" smtClean="0">
                          <a:effectLst/>
                          <a:latin typeface="PF Centro Sans Pro" panose="02000500000000020004" pitchFamily="50" charset="0"/>
                        </a:rPr>
                        <a:t> </a:t>
                      </a:r>
                      <a:r>
                        <a:rPr lang="ru-RU" sz="1350" b="1" u="none" strike="noStrike" dirty="0" smtClean="0">
                          <a:effectLst/>
                          <a:latin typeface="PF Centro Sans Pro" panose="02000500000000020004" pitchFamily="50" charset="0"/>
                        </a:rPr>
                        <a:t>для ТВРС-44 "Ладога</a:t>
                      </a:r>
                      <a:r>
                        <a:rPr lang="en-US" sz="1350" b="1" u="none" strike="noStrike" dirty="0" smtClean="0">
                          <a:effectLst/>
                          <a:latin typeface="PF Centro Sans Pro" panose="02000500000000020004" pitchFamily="50" charset="0"/>
                        </a:rPr>
                        <a:t>”</a:t>
                      </a:r>
                      <a:r>
                        <a:rPr lang="ru-RU" sz="1350" b="1" u="none" strike="noStrike" dirty="0" smtClean="0">
                          <a:effectLst/>
                          <a:latin typeface="PF Centro Sans Pro" panose="02000500000000020004" pitchFamily="50" charset="0"/>
                        </a:rPr>
                        <a:t>: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0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0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0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1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1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1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1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1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1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6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</a:tr>
              <a:tr h="249838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>
                          <a:effectLst/>
                          <a:latin typeface="PF Centro Sans Pro" panose="02000500000000020004" pitchFamily="50" charset="0"/>
                        </a:rPr>
                        <a:t>ТВРС-ЭПИ</a:t>
                      </a:r>
                      <a:endParaRPr lang="ru-RU" sz="1350" b="1" i="0" u="none" strike="noStrike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6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Требуется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1" i="0" u="none" strike="noStrike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90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150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150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150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150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150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840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</a:tr>
              <a:tr h="249838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>
                          <a:effectLst/>
                          <a:latin typeface="PF Centro Sans Pro" panose="02000500000000020004" pitchFamily="50" charset="0"/>
                        </a:rPr>
                        <a:t>Текущая возможность</a:t>
                      </a:r>
                      <a:endParaRPr lang="ru-RU" sz="1350" b="1" i="0" u="none" strike="noStrike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0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0" i="0" u="none" strike="noStrike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0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50" u="none" strike="noStrike" dirty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 </a:t>
                      </a:r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6</a:t>
                      </a:r>
                      <a:endParaRPr lang="ru-RU" sz="1350" b="0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6</a:t>
                      </a:r>
                      <a:endParaRPr lang="ru-RU" sz="1350" b="0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6</a:t>
                      </a:r>
                      <a:r>
                        <a:rPr lang="ru-RU" sz="1350" u="none" strike="noStrike" dirty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 </a:t>
                      </a:r>
                      <a:endParaRPr lang="ru-RU" sz="1350" b="0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6</a:t>
                      </a:r>
                      <a:r>
                        <a:rPr lang="ru-RU" sz="1350" u="none" strike="noStrike" dirty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 </a:t>
                      </a:r>
                      <a:endParaRPr lang="ru-RU" sz="1350" b="0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6</a:t>
                      </a:r>
                      <a:r>
                        <a:rPr lang="ru-RU" sz="1350" u="none" strike="noStrike" dirty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 </a:t>
                      </a:r>
                      <a:endParaRPr lang="ru-RU" sz="1350" b="0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6</a:t>
                      </a:r>
                      <a:r>
                        <a:rPr lang="ru-RU" sz="1350" u="none" strike="noStrike" dirty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 </a:t>
                      </a:r>
                      <a:endParaRPr lang="ru-RU" sz="1350" b="0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36</a:t>
                      </a:r>
                      <a:r>
                        <a:rPr lang="ru-RU" sz="1350" u="none" strike="noStrike" dirty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 </a:t>
                      </a:r>
                      <a:endParaRPr lang="ru-RU" sz="1350" b="0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b"/>
                </a:tc>
              </a:tr>
              <a:tr h="249838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kern="1200" dirty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ТВРС-ЭПСУЗ</a:t>
                      </a:r>
                    </a:p>
                  </a:txBody>
                  <a:tcPr marL="0" marR="0" marT="0" marB="0" anchor="ctr"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>
                          <a:effectLst/>
                          <a:latin typeface="PF Centro Sans Pro" panose="02000500000000020004" pitchFamily="50" charset="0"/>
                        </a:rPr>
                        <a:t>1</a:t>
                      </a:r>
                      <a:endParaRPr lang="ru-RU" sz="1350" b="0" i="0" u="none" strike="noStrike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Требуется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15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25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25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25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25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25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140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</a:tr>
              <a:tr h="249838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Текущая возможность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0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0" i="0" u="none" strike="noStrike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0" i="0" u="none" strike="noStrike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 </a:t>
                      </a:r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1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1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1</a:t>
                      </a:r>
                      <a:r>
                        <a:rPr lang="ru-RU" sz="1350" u="none" strike="noStrike" dirty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 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1</a:t>
                      </a:r>
                      <a:r>
                        <a:rPr lang="ru-RU" sz="1350" u="none" strike="noStrike" dirty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 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1</a:t>
                      </a:r>
                      <a:r>
                        <a:rPr lang="ru-RU" sz="1350" u="none" strike="noStrike" dirty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 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1</a:t>
                      </a:r>
                      <a:r>
                        <a:rPr lang="ru-RU" sz="1350" u="none" strike="noStrike" dirty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 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 smtClean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6</a:t>
                      </a:r>
                      <a:r>
                        <a:rPr lang="ru-RU" sz="1350" u="none" strike="noStrike" dirty="0">
                          <a:solidFill>
                            <a:srgbClr val="FF0000"/>
                          </a:solidFill>
                          <a:effectLst/>
                          <a:latin typeface="PF Centro Sans Pro" panose="02000500000000020004" pitchFamily="50" charset="0"/>
                        </a:rPr>
                        <a:t> </a:t>
                      </a:r>
                      <a:endParaRPr lang="ru-RU" sz="1350" b="1" i="0" u="none" strike="noStrike" dirty="0">
                        <a:solidFill>
                          <a:srgbClr val="FF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</a:tr>
              <a:tr h="249838">
                <a:tc vMerge="1">
                  <a:txBody>
                    <a:bodyPr/>
                    <a:lstStyle/>
                    <a:p>
                      <a:pPr algn="ctr" rtl="0" fontAlgn="ctr"/>
                      <a:endParaRPr lang="ru-RU" sz="50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kern="120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МП10С2,5А</a:t>
                      </a:r>
                    </a:p>
                  </a:txBody>
                  <a:tcPr marL="0" marR="0" marT="0" marB="0" anchor="ctr"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6</a:t>
                      </a:r>
                      <a:endParaRPr lang="ru-RU" sz="1350" b="0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Требуется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90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150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150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150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150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150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840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</a:tr>
              <a:tr h="249838">
                <a:tc vMerge="1">
                  <a:txBody>
                    <a:bodyPr/>
                    <a:lstStyle/>
                    <a:p>
                      <a:pPr algn="ctr" rtl="0" fontAlgn="ctr"/>
                      <a:endParaRPr lang="ru-RU" sz="50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>
                          <a:effectLst/>
                          <a:latin typeface="PF Centro Sans Pro" panose="02000500000000020004" pitchFamily="50" charset="0"/>
                        </a:rPr>
                        <a:t>Текущая возможность</a:t>
                      </a:r>
                      <a:endParaRPr lang="ru-RU" sz="1350" b="1" i="0" u="none" strike="noStrike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0" i="0" u="none" strike="noStrike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0" i="0" u="none" strike="noStrike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0" i="0" u="none" strike="noStrike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>
                          <a:effectLst/>
                          <a:latin typeface="PF Centro Sans Pro" panose="02000500000000020004" pitchFamily="50" charset="0"/>
                        </a:rPr>
                        <a:t>90</a:t>
                      </a:r>
                      <a:endParaRPr lang="ru-RU" sz="1350" b="0" i="0" u="none" strike="noStrike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>
                          <a:effectLst/>
                          <a:latin typeface="PF Centro Sans Pro" panose="02000500000000020004" pitchFamily="50" charset="0"/>
                        </a:rPr>
                        <a:t>150</a:t>
                      </a:r>
                      <a:endParaRPr lang="ru-RU" sz="1350" b="0" i="0" u="none" strike="noStrike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>
                          <a:effectLst/>
                          <a:latin typeface="PF Centro Sans Pro" panose="02000500000000020004" pitchFamily="50" charset="0"/>
                        </a:rPr>
                        <a:t>150</a:t>
                      </a:r>
                      <a:endParaRPr lang="ru-RU" sz="1350" b="0" i="0" u="none" strike="noStrike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150</a:t>
                      </a:r>
                      <a:endParaRPr lang="ru-RU" sz="1350" b="0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150</a:t>
                      </a:r>
                      <a:endParaRPr lang="ru-RU" sz="1350" b="0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150</a:t>
                      </a:r>
                      <a:endParaRPr lang="ru-RU" sz="1350" b="0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840</a:t>
                      </a:r>
                      <a:endParaRPr lang="ru-RU" sz="1350" b="0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</a:tr>
              <a:tr h="249838">
                <a:tc vMerge="1">
                  <a:txBody>
                    <a:bodyPr/>
                    <a:lstStyle/>
                    <a:p>
                      <a:pPr algn="ctr" rtl="0" fontAlgn="ctr"/>
                      <a:endParaRPr lang="ru-RU" sz="50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kern="1200" dirty="0">
                          <a:solidFill>
                            <a:schemeClr val="dk1"/>
                          </a:solidFill>
                          <a:effectLst/>
                          <a:latin typeface="PF Centro Sans Pro" panose="02000500000000020004" pitchFamily="50" charset="0"/>
                          <a:ea typeface="+mn-ea"/>
                          <a:cs typeface="+mn-cs"/>
                        </a:rPr>
                        <a:t>МП10С2,5А04 </a:t>
                      </a:r>
                    </a:p>
                  </a:txBody>
                  <a:tcPr marL="0" marR="0" marT="0" marB="0" anchor="ctr"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1</a:t>
                      </a:r>
                      <a:endParaRPr lang="ru-RU" sz="1350" b="0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Требуется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1" i="0" u="none" strike="noStrike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15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>
                          <a:effectLst/>
                          <a:latin typeface="PF Centro Sans Pro" panose="02000500000000020004" pitchFamily="50" charset="0"/>
                        </a:rPr>
                        <a:t>25</a:t>
                      </a:r>
                      <a:endParaRPr lang="ru-RU" sz="1350" b="1" i="0" u="none" strike="noStrike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>
                          <a:effectLst/>
                          <a:latin typeface="PF Centro Sans Pro" panose="02000500000000020004" pitchFamily="50" charset="0"/>
                        </a:rPr>
                        <a:t>25</a:t>
                      </a:r>
                      <a:endParaRPr lang="ru-RU" sz="1350" b="1" i="0" u="none" strike="noStrike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25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25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>
                          <a:effectLst/>
                          <a:latin typeface="PF Centro Sans Pro" panose="02000500000000020004" pitchFamily="50" charset="0"/>
                        </a:rPr>
                        <a:t>25</a:t>
                      </a:r>
                      <a:endParaRPr lang="ru-RU" sz="1350" b="1" i="0" u="none" strike="noStrike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140</a:t>
                      </a:r>
                      <a:endParaRPr lang="ru-RU" sz="135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>
                    <a:solidFill>
                      <a:srgbClr val="D2DEEF"/>
                    </a:solidFill>
                  </a:tcPr>
                </a:tc>
              </a:tr>
              <a:tr h="249838">
                <a:tc vMerge="1">
                  <a:txBody>
                    <a:bodyPr/>
                    <a:lstStyle/>
                    <a:p>
                      <a:pPr algn="ctr" rtl="0" fontAlgn="ctr"/>
                      <a:endParaRPr lang="ru-RU" sz="500" b="1" i="0" u="none" strike="noStrike" dirty="0">
                        <a:solidFill>
                          <a:srgbClr val="FFFFFF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Текущая возможность</a:t>
                      </a:r>
                      <a:endParaRPr lang="ru-RU" sz="1350" b="1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0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0" i="0" u="none" strike="noStrike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>
                          <a:effectLst/>
                          <a:latin typeface="PF Centro Sans Pro" panose="02000500000000020004" pitchFamily="50" charset="0"/>
                        </a:rPr>
                        <a:t>-</a:t>
                      </a:r>
                      <a:endParaRPr lang="ru-RU" sz="1350" b="0" i="0" u="none" strike="noStrike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15</a:t>
                      </a:r>
                      <a:endParaRPr lang="ru-RU" sz="1350" b="0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25</a:t>
                      </a:r>
                      <a:endParaRPr lang="ru-RU" sz="1350" b="0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25</a:t>
                      </a:r>
                      <a:endParaRPr lang="ru-RU" sz="1350" b="0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25</a:t>
                      </a:r>
                      <a:endParaRPr lang="ru-RU" sz="1350" b="0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25</a:t>
                      </a:r>
                      <a:endParaRPr lang="ru-RU" sz="1350" b="0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25</a:t>
                      </a:r>
                      <a:endParaRPr lang="ru-RU" sz="1350" b="0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50" u="none" strike="noStrike" dirty="0">
                          <a:effectLst/>
                          <a:latin typeface="PF Centro Sans Pro" panose="02000500000000020004" pitchFamily="50" charset="0"/>
                        </a:rPr>
                        <a:t>140</a:t>
                      </a:r>
                      <a:endParaRPr lang="ru-RU" sz="1350" b="0" i="0" u="none" strike="noStrike" dirty="0">
                        <a:solidFill>
                          <a:srgbClr val="000000"/>
                        </a:solidFill>
                        <a:effectLst/>
                        <a:latin typeface="PF Centro Sans Pro" panose="02000500000000020004" pitchFamily="50" charset="0"/>
                      </a:endParaRPr>
                    </a:p>
                  </a:txBody>
                  <a:tcPr marL="0" marR="0" marT="0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854778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2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2&quot;&gt;&lt;elem m_fUsage=&quot;3.36892113506189794236E+00&quot;&gt;&lt;m_msothmcolidx val=&quot;0&quot;/&gt;&lt;m_rgb r=&quot;87&quot; g=&quot;21&quot; b=&quot;75&quot;/&gt;&lt;m_nBrightness tagver0=&quot;26206&quot; tagname0=&quot;m_nBrightnessUNRECOGNIZED&quot; val=&quot;0&quot;/&gt;&lt;/elem&gt;&lt;elem m_fUsage=&quot;3.34962205201684248834E+00&quot;&gt;&lt;m_msothmcolidx val=&quot;0&quot;/&gt;&lt;m_rgb r=&quot;9F&quot; g=&quot;4D&quot; b=&quot;91&quot;/&gt;&lt;m_nBrightness tagver0=&quot;26206&quot; tagname0=&quot;m_nBrightnessUNRECOGNIZED&quot; val=&quot;0&quot;/&gt;&lt;/elem&gt;&lt;elem m_fUsage=&quot;2.04720819139870258141E+00&quot;&gt;&lt;m_msothmcolidx val=&quot;0&quot;/&gt;&lt;m_rgb r=&quot;B7&quot; g=&quot;7A&quot; b=&quot;AC&quot;/&gt;&lt;m_nBrightness tagver0=&quot;26206&quot; tagname0=&quot;m_nBrightnessUNRECOGNIZED&quot; val=&quot;0&quot;/&gt;&lt;/elem&gt;&lt;elem m_fUsage=&quot;9.66828250680569656339E-01&quot;&gt;&lt;m_msothmcolidx val=&quot;0&quot;/&gt;&lt;m_rgb r=&quot;C0&quot; g=&quot;00&quot; b=&quot;00&quot;/&gt;&lt;m_nBrightness tagver0=&quot;26206&quot; tagname0=&quot;m_nBrightnessUNRECOGNIZED&quot; val=&quot;0&quot;/&gt;&lt;/elem&gt;&lt;elem m_fUsage=&quot;2.29397571738502781269E-01&quot;&gt;&lt;m_msothmcolidx val=&quot;0&quot;/&gt;&lt;m_rgb r=&quot;CF&quot; g=&quot;A6&quot; b=&quot;C8&quot;/&gt;&lt;m_nBrightness tagver0=&quot;26206&quot; tagname0=&quot;m_nBrightnessUNRECOGNIZED&quot; val=&quot;0&quot;/&gt;&lt;/elem&gt;&lt;elem m_fUsage=&quot;2.50315550499324440681E-02&quot;&gt;&lt;m_msothmcolidx val=&quot;0&quot;/&gt;&lt;m_rgb r=&quot;ED&quot; g=&quot;FF&quot; b=&quot;0D&quot;/&gt;&lt;m_nBrightness tagver0=&quot;26206&quot; tagname0=&quot;m_nBrightnessUNRECOGNIZED&quot; val=&quot;0&quot;/&gt;&lt;/elem&gt;&lt;elem m_fUsage=&quot;1.28831603254525948327E-02&quot;&gt;&lt;m_msothmcolidx val=&quot;0&quot;/&gt;&lt;m_rgb r=&quot;E7&quot; g=&quot;D3&quot; b=&quot;E3&quot;/&gt;&lt;m_nBrightness tagver0=&quot;26206&quot; tagname0=&quot;m_nBrightnessUNRECOGNIZED&quot; val=&quot;0&quot;/&gt;&lt;/elem&gt;&lt;elem m_fUsage=&quot;1.08083727870601805482E-04&quot;&gt;&lt;m_msothmcolidx val=&quot;0&quot;/&gt;&lt;m_rgb r=&quot;B5&quot; g=&quot;58&quot; b=&quot;A9&quot;/&gt;&lt;m_nBrightness tagver0=&quot;26206&quot; tagname0=&quot;m_nBrightnessUNRECOGNIZED&quot; val=&quot;0&quot;/&gt;&lt;/elem&gt;&lt;elem m_fUsage=&quot;2.20511601872723226007E-13&quot;&gt;&lt;m_msothmcolidx val=&quot;0&quot;/&gt;&lt;m_rgb r=&quot;C7&quot; g=&quot;C8&quot; b=&quot;CA&quot;/&gt;&lt;m_nBrightness tagver0=&quot;26206&quot; tagname0=&quot;m_nBrightnessUNRECOGNIZED&quot; val=&quot;0&quot;/&gt;&lt;/elem&gt;&lt;elem m_fUsage=&quot;1.19259200370496999786E-14&quot;&gt;&lt;m_msothmcolidx val=&quot;0&quot;/&gt;&lt;m_rgb r=&quot;BD&quot; g=&quot;BD&quot; b=&quot;BD&quot;/&gt;&lt;m_nBrightness tagver0=&quot;26206&quot; tagname0=&quot;m_nBrightnessUNRECOGNIZED&quot; val=&quot;0&quot;/&gt;&lt;/elem&gt;&lt;elem m_fUsage=&quot;7.48678010621689581379E-20&quot;&gt;&lt;m_msothmcolidx val=&quot;0&quot;/&gt;&lt;m_rgb r=&quot;DA&quot; g=&quot;AB&quot; b=&quot;D4&quot;/&gt;&lt;m_nBrightness tagver0=&quot;26206&quot; tagname0=&quot;m_nBrightnessUNRECOGNIZED&quot; val=&quot;0&quot;/&gt;&lt;/elem&gt;&lt;elem m_fUsage=&quot;1.18986373753274131703E-23&quot;&gt;&lt;m_msothmcolidx val=&quot;0&quot;/&gt;&lt;m_rgb r=&quot;33&quot; g=&quot;61&quot; b=&quot;B8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HWjdVCQua1oh5jyIBj3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HWjdVCQua1oh5jyIBj3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HWjdVCQua1oh5jyIBj3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HWjdVCQua1oh5jyIBj3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HWjdVCQua1oh5jyIBj3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HWjdVCQua1oh5jyIBj3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HWjdVCQua1oh5jyIBj3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HWjdVCQua1oh5jyIBj3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HWjdVCQua1oh5jyIBj3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HWjdVCQua1oh5jyIBj3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peWk9fSc26ul7BKBimn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HWjdVCQua1oh5jyIBj3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HWjdVCQua1oh5jyIBj3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HWjdVCQua1oh5jyIBj3w"/>
</p:tagLst>
</file>

<file path=ppt/theme/theme1.xml><?xml version="1.0" encoding="utf-8"?>
<a:theme xmlns:a="http://schemas.openxmlformats.org/drawingml/2006/main" name="1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97963</TotalTime>
  <Words>2943</Words>
  <Application>Microsoft Office PowerPoint</Application>
  <PresentationFormat>A3 (297x420 мм)</PresentationFormat>
  <Paragraphs>1604</Paragraphs>
  <Slides>17</Slides>
  <Notes>1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24" baseType="lpstr">
      <vt:lpstr>Arial</vt:lpstr>
      <vt:lpstr>Calibri</vt:lpstr>
      <vt:lpstr>Calibri Light</vt:lpstr>
      <vt:lpstr>PF Centro Sans Pro</vt:lpstr>
      <vt:lpstr>Times New Roman</vt:lpstr>
      <vt:lpstr>1_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Лукин Илья Евгеньевич</dc:creator>
  <cp:lastModifiedBy>Сырчин Андрей Викторович</cp:lastModifiedBy>
  <cp:revision>3775</cp:revision>
  <cp:lastPrinted>2022-12-01T08:10:24Z</cp:lastPrinted>
  <dcterms:created xsi:type="dcterms:W3CDTF">2015-03-04T15:03:28Z</dcterms:created>
  <dcterms:modified xsi:type="dcterms:W3CDTF">2022-12-01T08:10:34Z</dcterms:modified>
</cp:coreProperties>
</file>